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30"/>
  </p:notesMasterIdLst>
  <p:handoutMasterIdLst>
    <p:handoutMasterId r:id="rId31"/>
  </p:handoutMasterIdLst>
  <p:sldIdLst>
    <p:sldId id="256" r:id="rId5"/>
    <p:sldId id="335" r:id="rId6"/>
    <p:sldId id="668" r:id="rId7"/>
    <p:sldId id="678" r:id="rId8"/>
    <p:sldId id="2202" r:id="rId9"/>
    <p:sldId id="309" r:id="rId10"/>
    <p:sldId id="682" r:id="rId11"/>
    <p:sldId id="2223" r:id="rId12"/>
    <p:sldId id="2224" r:id="rId13"/>
    <p:sldId id="2225" r:id="rId14"/>
    <p:sldId id="2226" r:id="rId15"/>
    <p:sldId id="2227" r:id="rId16"/>
    <p:sldId id="2228" r:id="rId17"/>
    <p:sldId id="2229" r:id="rId18"/>
    <p:sldId id="2219" r:id="rId19"/>
    <p:sldId id="2221" r:id="rId20"/>
    <p:sldId id="2208" r:id="rId21"/>
    <p:sldId id="2209" r:id="rId22"/>
    <p:sldId id="2211" r:id="rId23"/>
    <p:sldId id="409" r:id="rId24"/>
    <p:sldId id="342" r:id="rId25"/>
    <p:sldId id="406" r:id="rId26"/>
    <p:sldId id="407" r:id="rId27"/>
    <p:sldId id="408" r:id="rId28"/>
    <p:sldId id="322" r:id="rId29"/>
  </p:sldIdLst>
  <p:sldSz cx="9720263" cy="6300788"/>
  <p:notesSz cx="7010400" cy="9296400"/>
  <p:custDataLst>
    <p:tags r:id="rId32"/>
  </p:custDataLst>
  <p:defaultTextStyle>
    <a:defPPr>
      <a:defRPr lang="es-E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985">
          <p15:clr>
            <a:srgbClr val="A4A3A4"/>
          </p15:clr>
        </p15:guide>
        <p15:guide id="2" pos="3062">
          <p15:clr>
            <a:srgbClr val="A4A3A4"/>
          </p15:clr>
        </p15:guide>
        <p15:guide id="3" orient="horz" pos="588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E400"/>
    <a:srgbClr val="6E0D82"/>
    <a:srgbClr val="8D004C"/>
    <a:srgbClr val="560136"/>
    <a:srgbClr val="67004C"/>
    <a:srgbClr val="105424"/>
    <a:srgbClr val="9CCC44"/>
    <a:srgbClr val="022326"/>
    <a:srgbClr val="F2D4C0"/>
    <a:srgbClr val="004A5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255" autoAdjust="0"/>
    <p:restoredTop sz="94095" autoAdjust="0"/>
  </p:normalViewPr>
  <p:slideViewPr>
    <p:cSldViewPr snapToGrid="0" snapToObjects="1">
      <p:cViewPr varScale="1">
        <p:scale>
          <a:sx n="72" d="100"/>
          <a:sy n="72" d="100"/>
        </p:scale>
        <p:origin x="1272" y="48"/>
      </p:cViewPr>
      <p:guideLst>
        <p:guide orient="horz" pos="1985"/>
        <p:guide pos="3062"/>
        <p:guide orient="horz" pos="588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158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877054D-F390-421A-9614-F254319BB3CA}" type="doc">
      <dgm:prSet loTypeId="urn:microsoft.com/office/officeart/2005/8/layout/venn1" loCatId="relationship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D493ED3E-9FED-4BD4-A794-31A2222FEA27}">
      <dgm:prSet phldrT="[Texto]"/>
      <dgm:spPr/>
      <dgm:t>
        <a:bodyPr/>
        <a:lstStyle/>
        <a:p>
          <a:r>
            <a:rPr lang="es-CL" dirty="0"/>
            <a:t>Efectos sobre la salud psicológicas de los trabajadores</a:t>
          </a:r>
          <a:endParaRPr lang="en-US" dirty="0"/>
        </a:p>
      </dgm:t>
    </dgm:pt>
    <dgm:pt modelId="{4A48B4F9-CA15-465B-95E2-52D5B6CBE09C}" type="parTrans" cxnId="{223EBAC5-7A2F-480E-B3E4-9491F0192664}">
      <dgm:prSet/>
      <dgm:spPr/>
      <dgm:t>
        <a:bodyPr/>
        <a:lstStyle/>
        <a:p>
          <a:endParaRPr lang="en-US"/>
        </a:p>
      </dgm:t>
    </dgm:pt>
    <dgm:pt modelId="{91D82820-A59D-4C08-92CD-CB85C09ECCAC}" type="sibTrans" cxnId="{223EBAC5-7A2F-480E-B3E4-9491F0192664}">
      <dgm:prSet/>
      <dgm:spPr/>
      <dgm:t>
        <a:bodyPr/>
        <a:lstStyle/>
        <a:p>
          <a:endParaRPr lang="en-US"/>
        </a:p>
      </dgm:t>
    </dgm:pt>
    <dgm:pt modelId="{86ECF89A-AFA9-48BD-B988-23CBDC029F3A}">
      <dgm:prSet phldrT="[Texto]"/>
      <dgm:spPr/>
      <dgm:t>
        <a:bodyPr/>
        <a:lstStyle/>
        <a:p>
          <a:r>
            <a:rPr lang="es-CL" dirty="0"/>
            <a:t>Efectos sobre los resultados del trabajo y sobre la propia organización </a:t>
          </a:r>
          <a:endParaRPr lang="en-US" dirty="0"/>
        </a:p>
      </dgm:t>
    </dgm:pt>
    <dgm:pt modelId="{207E207F-CFFA-4567-BB04-8F521EBAAC64}" type="parTrans" cxnId="{66860BEC-6325-489E-A30A-33368CE7E0F7}">
      <dgm:prSet/>
      <dgm:spPr/>
      <dgm:t>
        <a:bodyPr/>
        <a:lstStyle/>
        <a:p>
          <a:endParaRPr lang="es-CL"/>
        </a:p>
      </dgm:t>
    </dgm:pt>
    <dgm:pt modelId="{E1676312-275D-4BA3-B557-A4C632D295CF}" type="sibTrans" cxnId="{66860BEC-6325-489E-A30A-33368CE7E0F7}">
      <dgm:prSet/>
      <dgm:spPr/>
      <dgm:t>
        <a:bodyPr/>
        <a:lstStyle/>
        <a:p>
          <a:endParaRPr lang="es-CL"/>
        </a:p>
      </dgm:t>
    </dgm:pt>
    <dgm:pt modelId="{7B8864E7-86FA-4B0E-BC54-129FE600075E}">
      <dgm:prSet phldrT="[Texto]"/>
      <dgm:spPr/>
      <dgm:t>
        <a:bodyPr/>
        <a:lstStyle/>
        <a:p>
          <a:r>
            <a:rPr lang="es-CL"/>
            <a:t>Efectos </a:t>
          </a:r>
          <a:r>
            <a:rPr lang="es-CL" dirty="0"/>
            <a:t>sobre la salud física de los trabajadores</a:t>
          </a:r>
          <a:endParaRPr lang="en-US" dirty="0"/>
        </a:p>
      </dgm:t>
    </dgm:pt>
    <dgm:pt modelId="{13AB3968-D65E-4F77-A407-DDE010915941}" type="parTrans" cxnId="{9D6335D3-4216-40DC-B944-029E06208424}">
      <dgm:prSet/>
      <dgm:spPr/>
      <dgm:t>
        <a:bodyPr/>
        <a:lstStyle/>
        <a:p>
          <a:endParaRPr lang="es-CL"/>
        </a:p>
      </dgm:t>
    </dgm:pt>
    <dgm:pt modelId="{C355F777-5D06-422C-BCFC-01744C7680A4}" type="sibTrans" cxnId="{9D6335D3-4216-40DC-B944-029E06208424}">
      <dgm:prSet/>
      <dgm:spPr/>
      <dgm:t>
        <a:bodyPr/>
        <a:lstStyle/>
        <a:p>
          <a:endParaRPr lang="es-CL"/>
        </a:p>
      </dgm:t>
    </dgm:pt>
    <dgm:pt modelId="{BD27784F-4936-4C92-88B2-58052DE411D4}" type="pres">
      <dgm:prSet presAssocID="{0877054D-F390-421A-9614-F254319BB3CA}" presName="compositeShape" presStyleCnt="0">
        <dgm:presLayoutVars>
          <dgm:chMax val="7"/>
          <dgm:dir/>
          <dgm:resizeHandles val="exact"/>
        </dgm:presLayoutVars>
      </dgm:prSet>
      <dgm:spPr/>
      <dgm:t>
        <a:bodyPr/>
        <a:lstStyle/>
        <a:p>
          <a:endParaRPr lang="es-CL"/>
        </a:p>
      </dgm:t>
    </dgm:pt>
    <dgm:pt modelId="{780B1FC6-9D3D-4030-A612-FE793261227A}" type="pres">
      <dgm:prSet presAssocID="{D493ED3E-9FED-4BD4-A794-31A2222FEA27}" presName="circ1" presStyleLbl="vennNode1" presStyleIdx="0" presStyleCnt="3"/>
      <dgm:spPr/>
      <dgm:t>
        <a:bodyPr/>
        <a:lstStyle/>
        <a:p>
          <a:endParaRPr lang="es-CL"/>
        </a:p>
      </dgm:t>
    </dgm:pt>
    <dgm:pt modelId="{62952B2D-B78E-474F-87E5-01905BAA9E4B}" type="pres">
      <dgm:prSet presAssocID="{D493ED3E-9FED-4BD4-A794-31A2222FEA27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18A97FC7-D6FB-4466-82E3-40CF1A420558}" type="pres">
      <dgm:prSet presAssocID="{7B8864E7-86FA-4B0E-BC54-129FE600075E}" presName="circ2" presStyleLbl="vennNode1" presStyleIdx="1" presStyleCnt="3"/>
      <dgm:spPr/>
      <dgm:t>
        <a:bodyPr/>
        <a:lstStyle/>
        <a:p>
          <a:endParaRPr lang="es-CL"/>
        </a:p>
      </dgm:t>
    </dgm:pt>
    <dgm:pt modelId="{47F02E09-12B2-4E7B-908F-A13FFCBCA339}" type="pres">
      <dgm:prSet presAssocID="{7B8864E7-86FA-4B0E-BC54-129FE600075E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D1FF4996-C6A8-4F47-83A8-451079C8C719}" type="pres">
      <dgm:prSet presAssocID="{86ECF89A-AFA9-48BD-B988-23CBDC029F3A}" presName="circ3" presStyleLbl="vennNode1" presStyleIdx="2" presStyleCnt="3"/>
      <dgm:spPr/>
      <dgm:t>
        <a:bodyPr/>
        <a:lstStyle/>
        <a:p>
          <a:endParaRPr lang="es-CL"/>
        </a:p>
      </dgm:t>
    </dgm:pt>
    <dgm:pt modelId="{402578BF-CEF8-439F-87C6-031332CDD9D3}" type="pres">
      <dgm:prSet presAssocID="{86ECF89A-AFA9-48BD-B988-23CBDC029F3A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L"/>
        </a:p>
      </dgm:t>
    </dgm:pt>
  </dgm:ptLst>
  <dgm:cxnLst>
    <dgm:cxn modelId="{DD82AA56-1816-4A83-B2EA-09FD468227A9}" type="presOf" srcId="{7B8864E7-86FA-4B0E-BC54-129FE600075E}" destId="{47F02E09-12B2-4E7B-908F-A13FFCBCA339}" srcOrd="1" destOrd="0" presId="urn:microsoft.com/office/officeart/2005/8/layout/venn1"/>
    <dgm:cxn modelId="{3C5A6747-0394-4FCE-8AD4-26074339CC80}" type="presOf" srcId="{7B8864E7-86FA-4B0E-BC54-129FE600075E}" destId="{18A97FC7-D6FB-4466-82E3-40CF1A420558}" srcOrd="0" destOrd="0" presId="urn:microsoft.com/office/officeart/2005/8/layout/venn1"/>
    <dgm:cxn modelId="{79F014BA-ADD2-4B1C-BF41-59123DDEE846}" type="presOf" srcId="{86ECF89A-AFA9-48BD-B988-23CBDC029F3A}" destId="{402578BF-CEF8-439F-87C6-031332CDD9D3}" srcOrd="1" destOrd="0" presId="urn:microsoft.com/office/officeart/2005/8/layout/venn1"/>
    <dgm:cxn modelId="{3B8832AA-A856-4233-BA74-3463FD589CD7}" type="presOf" srcId="{0877054D-F390-421A-9614-F254319BB3CA}" destId="{BD27784F-4936-4C92-88B2-58052DE411D4}" srcOrd="0" destOrd="0" presId="urn:microsoft.com/office/officeart/2005/8/layout/venn1"/>
    <dgm:cxn modelId="{C3959012-2E9A-48C9-BD0C-68F1BA58C6FB}" type="presOf" srcId="{86ECF89A-AFA9-48BD-B988-23CBDC029F3A}" destId="{D1FF4996-C6A8-4F47-83A8-451079C8C719}" srcOrd="0" destOrd="0" presId="urn:microsoft.com/office/officeart/2005/8/layout/venn1"/>
    <dgm:cxn modelId="{223EBAC5-7A2F-480E-B3E4-9491F0192664}" srcId="{0877054D-F390-421A-9614-F254319BB3CA}" destId="{D493ED3E-9FED-4BD4-A794-31A2222FEA27}" srcOrd="0" destOrd="0" parTransId="{4A48B4F9-CA15-465B-95E2-52D5B6CBE09C}" sibTransId="{91D82820-A59D-4C08-92CD-CB85C09ECCAC}"/>
    <dgm:cxn modelId="{9D6335D3-4216-40DC-B944-029E06208424}" srcId="{0877054D-F390-421A-9614-F254319BB3CA}" destId="{7B8864E7-86FA-4B0E-BC54-129FE600075E}" srcOrd="1" destOrd="0" parTransId="{13AB3968-D65E-4F77-A407-DDE010915941}" sibTransId="{C355F777-5D06-422C-BCFC-01744C7680A4}"/>
    <dgm:cxn modelId="{66860BEC-6325-489E-A30A-33368CE7E0F7}" srcId="{0877054D-F390-421A-9614-F254319BB3CA}" destId="{86ECF89A-AFA9-48BD-B988-23CBDC029F3A}" srcOrd="2" destOrd="0" parTransId="{207E207F-CFFA-4567-BB04-8F521EBAAC64}" sibTransId="{E1676312-275D-4BA3-B557-A4C632D295CF}"/>
    <dgm:cxn modelId="{6AD5D741-4508-4425-94A1-16D59A3B1052}" type="presOf" srcId="{D493ED3E-9FED-4BD4-A794-31A2222FEA27}" destId="{62952B2D-B78E-474F-87E5-01905BAA9E4B}" srcOrd="1" destOrd="0" presId="urn:microsoft.com/office/officeart/2005/8/layout/venn1"/>
    <dgm:cxn modelId="{681C16C7-FA03-4AFB-A859-F01E5CAD6F71}" type="presOf" srcId="{D493ED3E-9FED-4BD4-A794-31A2222FEA27}" destId="{780B1FC6-9D3D-4030-A612-FE793261227A}" srcOrd="0" destOrd="0" presId="urn:microsoft.com/office/officeart/2005/8/layout/venn1"/>
    <dgm:cxn modelId="{F67E25BA-60BA-4BDB-831D-23815979F408}" type="presParOf" srcId="{BD27784F-4936-4C92-88B2-58052DE411D4}" destId="{780B1FC6-9D3D-4030-A612-FE793261227A}" srcOrd="0" destOrd="0" presId="urn:microsoft.com/office/officeart/2005/8/layout/venn1"/>
    <dgm:cxn modelId="{92B956F1-E1ED-4D5D-9DAF-BF5E2C0E364D}" type="presParOf" srcId="{BD27784F-4936-4C92-88B2-58052DE411D4}" destId="{62952B2D-B78E-474F-87E5-01905BAA9E4B}" srcOrd="1" destOrd="0" presId="urn:microsoft.com/office/officeart/2005/8/layout/venn1"/>
    <dgm:cxn modelId="{F4409715-D6AD-47AC-88AE-D07A52C23F6E}" type="presParOf" srcId="{BD27784F-4936-4C92-88B2-58052DE411D4}" destId="{18A97FC7-D6FB-4466-82E3-40CF1A420558}" srcOrd="2" destOrd="0" presId="urn:microsoft.com/office/officeart/2005/8/layout/venn1"/>
    <dgm:cxn modelId="{0DC78560-F536-4A4A-8D71-CCBC9E3E2B26}" type="presParOf" srcId="{BD27784F-4936-4C92-88B2-58052DE411D4}" destId="{47F02E09-12B2-4E7B-908F-A13FFCBCA339}" srcOrd="3" destOrd="0" presId="urn:microsoft.com/office/officeart/2005/8/layout/venn1"/>
    <dgm:cxn modelId="{D562C97C-9ED3-425D-AB3C-66ED7587AAE2}" type="presParOf" srcId="{BD27784F-4936-4C92-88B2-58052DE411D4}" destId="{D1FF4996-C6A8-4F47-83A8-451079C8C719}" srcOrd="4" destOrd="0" presId="urn:microsoft.com/office/officeart/2005/8/layout/venn1"/>
    <dgm:cxn modelId="{6FFC38E3-0D57-4F93-B345-ED2A09F3CFF0}" type="presParOf" srcId="{BD27784F-4936-4C92-88B2-58052DE411D4}" destId="{402578BF-CEF8-439F-87C6-031332CDD9D3}" srcOrd="5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D361DC0-BEA9-40CA-BDEF-7B10EF24FF0D}" type="doc">
      <dgm:prSet loTypeId="urn:microsoft.com/office/officeart/2005/8/layout/process3" loCatId="process" qsTypeId="urn:microsoft.com/office/officeart/2005/8/quickstyle/simple1" qsCatId="simple" csTypeId="urn:microsoft.com/office/officeart/2005/8/colors/accent1_2" csCatId="accent1" phldr="1"/>
      <dgm:spPr/>
    </dgm:pt>
    <dgm:pt modelId="{BAE9E3D4-12B4-424B-B6C3-46B16F35E00B}">
      <dgm:prSet phldrT="[Texto]"/>
      <dgm:spPr/>
      <dgm:t>
        <a:bodyPr/>
        <a:lstStyle/>
        <a:p>
          <a:r>
            <a:rPr lang="es-CL" dirty="0" err="1"/>
            <a:t>Sep</a:t>
          </a:r>
          <a:r>
            <a:rPr lang="es-CL" dirty="0"/>
            <a:t> 2013</a:t>
          </a:r>
        </a:p>
      </dgm:t>
    </dgm:pt>
    <dgm:pt modelId="{AEE30E70-E30B-472C-8D53-A11C4895173D}" type="parTrans" cxnId="{73D4EC7F-D1E2-41E6-A27B-A670F2B06585}">
      <dgm:prSet/>
      <dgm:spPr/>
      <dgm:t>
        <a:bodyPr/>
        <a:lstStyle/>
        <a:p>
          <a:endParaRPr lang="es-CL"/>
        </a:p>
      </dgm:t>
    </dgm:pt>
    <dgm:pt modelId="{A08484AB-A8FA-4F2A-8E38-95843B6B4E3D}" type="sibTrans" cxnId="{73D4EC7F-D1E2-41E6-A27B-A670F2B06585}">
      <dgm:prSet/>
      <dgm:spPr/>
      <dgm:t>
        <a:bodyPr/>
        <a:lstStyle/>
        <a:p>
          <a:endParaRPr lang="es-CL"/>
        </a:p>
      </dgm:t>
    </dgm:pt>
    <dgm:pt modelId="{85DA331A-5516-44BC-A743-36C2236207E4}">
      <dgm:prSet phldrT="[Texto]"/>
      <dgm:spPr/>
      <dgm:t>
        <a:bodyPr/>
        <a:lstStyle/>
        <a:p>
          <a:r>
            <a:rPr lang="es-CL" dirty="0" err="1"/>
            <a:t>Sep</a:t>
          </a:r>
          <a:r>
            <a:rPr lang="es-CL" dirty="0"/>
            <a:t> 2015</a:t>
          </a:r>
        </a:p>
      </dgm:t>
    </dgm:pt>
    <dgm:pt modelId="{FB632FA4-7F8A-47E1-8ED4-602DBB189317}" type="parTrans" cxnId="{2082B0DC-830A-45F1-99F7-756BE8065854}">
      <dgm:prSet/>
      <dgm:spPr/>
      <dgm:t>
        <a:bodyPr/>
        <a:lstStyle/>
        <a:p>
          <a:endParaRPr lang="es-CL"/>
        </a:p>
      </dgm:t>
    </dgm:pt>
    <dgm:pt modelId="{C1DA1F42-9A83-4B3B-AF4E-E50DD2D3A5CA}" type="sibTrans" cxnId="{2082B0DC-830A-45F1-99F7-756BE8065854}">
      <dgm:prSet/>
      <dgm:spPr/>
      <dgm:t>
        <a:bodyPr/>
        <a:lstStyle/>
        <a:p>
          <a:endParaRPr lang="es-CL"/>
        </a:p>
      </dgm:t>
    </dgm:pt>
    <dgm:pt modelId="{E4E442E3-6602-4679-B88D-576D9D4EB8D5}">
      <dgm:prSet phldrT="[Texto]"/>
      <dgm:spPr/>
      <dgm:t>
        <a:bodyPr/>
        <a:lstStyle/>
        <a:p>
          <a:r>
            <a:rPr lang="es-CL" dirty="0"/>
            <a:t>27 Jul 2016</a:t>
          </a:r>
        </a:p>
      </dgm:t>
    </dgm:pt>
    <dgm:pt modelId="{ADB5547B-4331-4D3B-ADEE-D8DD064187CB}" type="parTrans" cxnId="{255D0E17-8642-485B-BA8A-40F44C20DAD6}">
      <dgm:prSet/>
      <dgm:spPr/>
      <dgm:t>
        <a:bodyPr/>
        <a:lstStyle/>
        <a:p>
          <a:endParaRPr lang="es-CL"/>
        </a:p>
      </dgm:t>
    </dgm:pt>
    <dgm:pt modelId="{EFCA07C8-5A97-4D88-B8F5-918653710AD5}" type="sibTrans" cxnId="{255D0E17-8642-485B-BA8A-40F44C20DAD6}">
      <dgm:prSet/>
      <dgm:spPr/>
      <dgm:t>
        <a:bodyPr/>
        <a:lstStyle/>
        <a:p>
          <a:endParaRPr lang="es-CL"/>
        </a:p>
      </dgm:t>
    </dgm:pt>
    <dgm:pt modelId="{EB30A4A7-6BB7-4D47-BF5B-434AE6DB9698}">
      <dgm:prSet phldrT="[Texto]"/>
      <dgm:spPr/>
      <dgm:t>
        <a:bodyPr/>
        <a:lstStyle/>
        <a:p>
          <a:r>
            <a:rPr lang="es-CL" dirty="0"/>
            <a:t>02 </a:t>
          </a:r>
          <a:r>
            <a:rPr lang="es-CL" dirty="0" err="1"/>
            <a:t>Sep</a:t>
          </a:r>
          <a:r>
            <a:rPr lang="es-CL" dirty="0"/>
            <a:t> 2016</a:t>
          </a:r>
        </a:p>
      </dgm:t>
    </dgm:pt>
    <dgm:pt modelId="{FFDBBC71-35DA-4B40-8966-16B91E8869BC}" type="parTrans" cxnId="{DADD6335-3724-4002-B367-B80B9C81C1A4}">
      <dgm:prSet/>
      <dgm:spPr/>
      <dgm:t>
        <a:bodyPr/>
        <a:lstStyle/>
        <a:p>
          <a:endParaRPr lang="es-CL"/>
        </a:p>
      </dgm:t>
    </dgm:pt>
    <dgm:pt modelId="{FD61E2DF-71D6-4B29-883E-E9EECCD10C1F}" type="sibTrans" cxnId="{DADD6335-3724-4002-B367-B80B9C81C1A4}">
      <dgm:prSet/>
      <dgm:spPr/>
      <dgm:t>
        <a:bodyPr/>
        <a:lstStyle/>
        <a:p>
          <a:endParaRPr lang="es-CL"/>
        </a:p>
      </dgm:t>
    </dgm:pt>
    <dgm:pt modelId="{9E0BE288-2A59-49BC-83F9-6331B26A0BD9}">
      <dgm:prSet phldrT="[Texto]"/>
      <dgm:spPr/>
      <dgm:t>
        <a:bodyPr/>
        <a:lstStyle/>
        <a:p>
          <a:r>
            <a:rPr lang="es-CL" dirty="0"/>
            <a:t>Res 336 (12 junio 2013) Protocolo de Vigilancia de Riesgos Psicosociales</a:t>
          </a:r>
        </a:p>
      </dgm:t>
    </dgm:pt>
    <dgm:pt modelId="{80868A44-E0B4-4449-A203-3C67A5669340}" type="parTrans" cxnId="{47D182F1-EE9E-4654-AD25-CB3EDABC0DE4}">
      <dgm:prSet/>
      <dgm:spPr/>
      <dgm:t>
        <a:bodyPr/>
        <a:lstStyle/>
        <a:p>
          <a:endParaRPr lang="es-CL"/>
        </a:p>
      </dgm:t>
    </dgm:pt>
    <dgm:pt modelId="{1EB487D0-3080-43CD-B0FF-5E9B73E60F20}" type="sibTrans" cxnId="{47D182F1-EE9E-4654-AD25-CB3EDABC0DE4}">
      <dgm:prSet/>
      <dgm:spPr/>
      <dgm:t>
        <a:bodyPr/>
        <a:lstStyle/>
        <a:p>
          <a:endParaRPr lang="es-CL"/>
        </a:p>
      </dgm:t>
    </dgm:pt>
    <dgm:pt modelId="{280C946E-F19C-4C8C-86A0-41923ED59F28}">
      <dgm:prSet phldrT="[Texto]"/>
      <dgm:spPr/>
      <dgm:t>
        <a:bodyPr/>
        <a:lstStyle/>
        <a:p>
          <a:r>
            <a:rPr lang="es-CL" dirty="0"/>
            <a:t>Res 336 (12 junio 2013)  Protocolo rige para todos los sectores económicos</a:t>
          </a:r>
        </a:p>
      </dgm:t>
    </dgm:pt>
    <dgm:pt modelId="{F8EFB3A8-BF9C-4837-84B5-AB5FD1C8780C}" type="parTrans" cxnId="{E6D59E5C-FA65-4C82-9578-27CB17FEF6C0}">
      <dgm:prSet/>
      <dgm:spPr/>
      <dgm:t>
        <a:bodyPr/>
        <a:lstStyle/>
        <a:p>
          <a:endParaRPr lang="es-CL"/>
        </a:p>
      </dgm:t>
    </dgm:pt>
    <dgm:pt modelId="{000E1D95-FB70-4D71-B109-004E4D7FB0F0}" type="sibTrans" cxnId="{E6D59E5C-FA65-4C82-9578-27CB17FEF6C0}">
      <dgm:prSet/>
      <dgm:spPr/>
      <dgm:t>
        <a:bodyPr/>
        <a:lstStyle/>
        <a:p>
          <a:endParaRPr lang="es-CL"/>
        </a:p>
      </dgm:t>
    </dgm:pt>
    <dgm:pt modelId="{499AFD43-8386-4454-A427-9116719B4C8F}">
      <dgm:prSet phldrT="[Texto]"/>
      <dgm:spPr/>
      <dgm:t>
        <a:bodyPr/>
        <a:lstStyle/>
        <a:p>
          <a:r>
            <a:rPr lang="es-CL" dirty="0" err="1"/>
            <a:t>Circ</a:t>
          </a:r>
          <a:r>
            <a:rPr lang="es-CL" dirty="0"/>
            <a:t> 3241 Normas mínimas para evaluar EPSM (derogada por 3298)</a:t>
          </a:r>
        </a:p>
      </dgm:t>
    </dgm:pt>
    <dgm:pt modelId="{D1AA8796-8841-4AB1-9DB9-55B3C352F571}" type="parTrans" cxnId="{AA54E14E-B7FC-4520-976C-8C799020827D}">
      <dgm:prSet/>
      <dgm:spPr/>
      <dgm:t>
        <a:bodyPr/>
        <a:lstStyle/>
        <a:p>
          <a:endParaRPr lang="es-CL"/>
        </a:p>
      </dgm:t>
    </dgm:pt>
    <dgm:pt modelId="{F2D5E353-32FE-4F83-A1D7-DBD016CEF36F}" type="sibTrans" cxnId="{AA54E14E-B7FC-4520-976C-8C799020827D}">
      <dgm:prSet/>
      <dgm:spPr/>
      <dgm:t>
        <a:bodyPr/>
        <a:lstStyle/>
        <a:p>
          <a:endParaRPr lang="es-CL"/>
        </a:p>
      </dgm:t>
    </dgm:pt>
    <dgm:pt modelId="{20B019FF-BF56-4BA3-BD80-327E834982DF}">
      <dgm:prSet phldrT="[Texto]"/>
      <dgm:spPr/>
      <dgm:t>
        <a:bodyPr/>
        <a:lstStyle/>
        <a:p>
          <a:r>
            <a:rPr lang="es-CL" dirty="0" err="1"/>
            <a:t>Circ</a:t>
          </a:r>
          <a:r>
            <a:rPr lang="es-CL" dirty="0"/>
            <a:t> 3243 Metodología de evaluación de RPS</a:t>
          </a:r>
        </a:p>
      </dgm:t>
    </dgm:pt>
    <dgm:pt modelId="{02023DF6-E157-4AA6-817F-C7CEBB3E98FB}" type="parTrans" cxnId="{B5ABE72D-FFD5-477E-9A39-9AF34FB14518}">
      <dgm:prSet/>
      <dgm:spPr/>
      <dgm:t>
        <a:bodyPr/>
        <a:lstStyle/>
        <a:p>
          <a:endParaRPr lang="es-CL"/>
        </a:p>
      </dgm:t>
    </dgm:pt>
    <dgm:pt modelId="{C476952E-5A96-4230-B8A4-546C205C40F9}" type="sibTrans" cxnId="{B5ABE72D-FFD5-477E-9A39-9AF34FB14518}">
      <dgm:prSet/>
      <dgm:spPr/>
      <dgm:t>
        <a:bodyPr/>
        <a:lstStyle/>
        <a:p>
          <a:endParaRPr lang="es-CL"/>
        </a:p>
      </dgm:t>
    </dgm:pt>
    <dgm:pt modelId="{F493251E-E08B-429D-B68D-5B00B6F38548}">
      <dgm:prSet phldrT="[Texto]"/>
      <dgm:spPr/>
      <dgm:t>
        <a:bodyPr/>
        <a:lstStyle/>
        <a:p>
          <a:r>
            <a:rPr lang="es-CL" dirty="0"/>
            <a:t>Dic 2016</a:t>
          </a:r>
        </a:p>
      </dgm:t>
    </dgm:pt>
    <dgm:pt modelId="{2079C90C-135A-4DFC-B6B3-D6A725DC6269}" type="parTrans" cxnId="{46B731FA-21A0-49EB-AA58-1D093864D380}">
      <dgm:prSet/>
      <dgm:spPr/>
      <dgm:t>
        <a:bodyPr/>
        <a:lstStyle/>
        <a:p>
          <a:endParaRPr lang="es-CL"/>
        </a:p>
      </dgm:t>
    </dgm:pt>
    <dgm:pt modelId="{CE53C219-7E61-49DE-81D1-57D85154D323}" type="sibTrans" cxnId="{46B731FA-21A0-49EB-AA58-1D093864D380}">
      <dgm:prSet/>
      <dgm:spPr/>
      <dgm:t>
        <a:bodyPr/>
        <a:lstStyle/>
        <a:p>
          <a:endParaRPr lang="es-CL"/>
        </a:p>
      </dgm:t>
    </dgm:pt>
    <dgm:pt modelId="{A5266FBF-DA08-44E3-B654-B6EB186BB335}">
      <dgm:prSet phldrT="[Texto]"/>
      <dgm:spPr/>
      <dgm:t>
        <a:bodyPr/>
        <a:lstStyle/>
        <a:p>
          <a:r>
            <a:rPr lang="es-CL" dirty="0"/>
            <a:t>Ord 69976 Recalculo de nivel de riesgo</a:t>
          </a:r>
        </a:p>
      </dgm:t>
    </dgm:pt>
    <dgm:pt modelId="{3066258A-D898-443F-9750-516CD1D6CCC6}" type="parTrans" cxnId="{4177F7F8-AA3C-476A-A196-E6A786EC7015}">
      <dgm:prSet/>
      <dgm:spPr/>
      <dgm:t>
        <a:bodyPr/>
        <a:lstStyle/>
        <a:p>
          <a:endParaRPr lang="es-CL"/>
        </a:p>
      </dgm:t>
    </dgm:pt>
    <dgm:pt modelId="{D032018F-B211-4A25-994C-73A7757782EF}" type="sibTrans" cxnId="{4177F7F8-AA3C-476A-A196-E6A786EC7015}">
      <dgm:prSet/>
      <dgm:spPr/>
      <dgm:t>
        <a:bodyPr/>
        <a:lstStyle/>
        <a:p>
          <a:endParaRPr lang="es-CL"/>
        </a:p>
      </dgm:t>
    </dgm:pt>
    <dgm:pt modelId="{28794011-8A5C-49B8-A81E-3EDE0210B8CF}">
      <dgm:prSet phldrT="[Texto]"/>
      <dgm:spPr/>
      <dgm:t>
        <a:bodyPr/>
        <a:lstStyle/>
        <a:p>
          <a:r>
            <a:rPr lang="es-CL" dirty="0" err="1"/>
            <a:t>May</a:t>
          </a:r>
          <a:r>
            <a:rPr lang="es-CL" dirty="0"/>
            <a:t> 2017</a:t>
          </a:r>
        </a:p>
      </dgm:t>
    </dgm:pt>
    <dgm:pt modelId="{181BF12A-E294-45B2-B040-775B361D4EA2}" type="parTrans" cxnId="{61A34027-13E2-4856-9157-5B8AC44D79F8}">
      <dgm:prSet/>
      <dgm:spPr/>
      <dgm:t>
        <a:bodyPr/>
        <a:lstStyle/>
        <a:p>
          <a:endParaRPr lang="es-CL"/>
        </a:p>
      </dgm:t>
    </dgm:pt>
    <dgm:pt modelId="{C27F5A04-0D32-4DD2-B460-75C65F1EA7C7}" type="sibTrans" cxnId="{61A34027-13E2-4856-9157-5B8AC44D79F8}">
      <dgm:prSet/>
      <dgm:spPr/>
      <dgm:t>
        <a:bodyPr/>
        <a:lstStyle/>
        <a:p>
          <a:endParaRPr lang="es-CL"/>
        </a:p>
      </dgm:t>
    </dgm:pt>
    <dgm:pt modelId="{5634AFE0-512D-44E0-9A70-031E41B054D3}">
      <dgm:prSet phldrT="[Texto]"/>
      <dgm:spPr/>
      <dgm:t>
        <a:bodyPr/>
        <a:lstStyle/>
        <a:p>
          <a:r>
            <a:rPr lang="es-CL" dirty="0" err="1"/>
            <a:t>Circ</a:t>
          </a:r>
          <a:r>
            <a:rPr lang="es-CL" dirty="0"/>
            <a:t> 3298 Modifica 3241. Normas mínimas para evaluar EPSM </a:t>
          </a:r>
        </a:p>
      </dgm:t>
    </dgm:pt>
    <dgm:pt modelId="{807A173A-FCB1-4494-B3E1-FA96C3E39DD2}" type="parTrans" cxnId="{8BC666D1-6AFA-48CE-8089-B98AAB40C1FB}">
      <dgm:prSet/>
      <dgm:spPr/>
      <dgm:t>
        <a:bodyPr/>
        <a:lstStyle/>
        <a:p>
          <a:endParaRPr lang="es-CL"/>
        </a:p>
      </dgm:t>
    </dgm:pt>
    <dgm:pt modelId="{1AB03F8F-E620-4C74-BBAE-2B0291AE89D4}" type="sibTrans" cxnId="{8BC666D1-6AFA-48CE-8089-B98AAB40C1FB}">
      <dgm:prSet/>
      <dgm:spPr/>
      <dgm:t>
        <a:bodyPr/>
        <a:lstStyle/>
        <a:p>
          <a:endParaRPr lang="es-CL"/>
        </a:p>
      </dgm:t>
    </dgm:pt>
    <dgm:pt modelId="{6DBB3E16-7892-44DD-8539-C13C9691F077}">
      <dgm:prSet/>
      <dgm:spPr/>
      <dgm:t>
        <a:bodyPr/>
        <a:lstStyle/>
        <a:p>
          <a:endParaRPr lang="es-CL" dirty="0"/>
        </a:p>
      </dgm:t>
    </dgm:pt>
    <dgm:pt modelId="{FC73A08E-1E8A-4FA3-87D1-765F7094957D}" type="parTrans" cxnId="{E6086DC9-259F-4956-A2C4-E41C3E03BAB7}">
      <dgm:prSet/>
      <dgm:spPr/>
      <dgm:t>
        <a:bodyPr/>
        <a:lstStyle/>
        <a:p>
          <a:endParaRPr lang="es-CL"/>
        </a:p>
      </dgm:t>
    </dgm:pt>
    <dgm:pt modelId="{4D11F728-5E62-4453-81DC-CC3621ABA586}" type="sibTrans" cxnId="{E6086DC9-259F-4956-A2C4-E41C3E03BAB7}">
      <dgm:prSet/>
      <dgm:spPr/>
      <dgm:t>
        <a:bodyPr/>
        <a:lstStyle/>
        <a:p>
          <a:endParaRPr lang="es-CL"/>
        </a:p>
      </dgm:t>
    </dgm:pt>
    <dgm:pt modelId="{A5C142F1-565D-406A-9882-2F32F435DB94}" type="pres">
      <dgm:prSet presAssocID="{2D361DC0-BEA9-40CA-BDEF-7B10EF24FF0D}" presName="linearFlow" presStyleCnt="0">
        <dgm:presLayoutVars>
          <dgm:dir/>
          <dgm:animLvl val="lvl"/>
          <dgm:resizeHandles val="exact"/>
        </dgm:presLayoutVars>
      </dgm:prSet>
      <dgm:spPr/>
    </dgm:pt>
    <dgm:pt modelId="{398940FB-A467-479F-A7B6-C0673A92A6F6}" type="pres">
      <dgm:prSet presAssocID="{BAE9E3D4-12B4-424B-B6C3-46B16F35E00B}" presName="composite" presStyleCnt="0"/>
      <dgm:spPr/>
    </dgm:pt>
    <dgm:pt modelId="{63AAF89D-9BD7-4BFA-A8D0-9A4AD267F242}" type="pres">
      <dgm:prSet presAssocID="{BAE9E3D4-12B4-424B-B6C3-46B16F35E00B}" presName="parTx" presStyleLbl="node1" presStyleIdx="0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ACF59AB7-CFBF-41C7-98D5-773CCE0B5142}" type="pres">
      <dgm:prSet presAssocID="{BAE9E3D4-12B4-424B-B6C3-46B16F35E00B}" presName="parSh" presStyleLbl="node1" presStyleIdx="0" presStyleCnt="6"/>
      <dgm:spPr/>
      <dgm:t>
        <a:bodyPr/>
        <a:lstStyle/>
        <a:p>
          <a:endParaRPr lang="es-CL"/>
        </a:p>
      </dgm:t>
    </dgm:pt>
    <dgm:pt modelId="{F9613E10-4AF5-4315-BA61-FEFDF1819EC9}" type="pres">
      <dgm:prSet presAssocID="{BAE9E3D4-12B4-424B-B6C3-46B16F35E00B}" presName="desTx" presStyleLbl="fgAcc1" presStyleIdx="0" presStyleCnt="6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955110DD-3C28-493F-8E00-BC36F8A4A66A}" type="pres">
      <dgm:prSet presAssocID="{A08484AB-A8FA-4F2A-8E38-95843B6B4E3D}" presName="sibTrans" presStyleLbl="sibTrans2D1" presStyleIdx="0" presStyleCnt="5"/>
      <dgm:spPr/>
      <dgm:t>
        <a:bodyPr/>
        <a:lstStyle/>
        <a:p>
          <a:endParaRPr lang="es-CL"/>
        </a:p>
      </dgm:t>
    </dgm:pt>
    <dgm:pt modelId="{1F835DD6-4732-4D27-B078-33C3EBCDE3D6}" type="pres">
      <dgm:prSet presAssocID="{A08484AB-A8FA-4F2A-8E38-95843B6B4E3D}" presName="connTx" presStyleLbl="sibTrans2D1" presStyleIdx="0" presStyleCnt="5"/>
      <dgm:spPr/>
      <dgm:t>
        <a:bodyPr/>
        <a:lstStyle/>
        <a:p>
          <a:endParaRPr lang="es-CL"/>
        </a:p>
      </dgm:t>
    </dgm:pt>
    <dgm:pt modelId="{2752D53B-4C69-4194-91FE-3E7BF2D2BCB9}" type="pres">
      <dgm:prSet presAssocID="{85DA331A-5516-44BC-A743-36C2236207E4}" presName="composite" presStyleCnt="0"/>
      <dgm:spPr/>
    </dgm:pt>
    <dgm:pt modelId="{ECBF15C4-F2A1-4FEE-8F01-C282D0B1B3DD}" type="pres">
      <dgm:prSet presAssocID="{85DA331A-5516-44BC-A743-36C2236207E4}" presName="parTx" presStyleLbl="node1" presStyleIdx="0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1DCF5D61-BD35-483A-A518-BABBF586384C}" type="pres">
      <dgm:prSet presAssocID="{85DA331A-5516-44BC-A743-36C2236207E4}" presName="parSh" presStyleLbl="node1" presStyleIdx="1" presStyleCnt="6"/>
      <dgm:spPr/>
      <dgm:t>
        <a:bodyPr/>
        <a:lstStyle/>
        <a:p>
          <a:endParaRPr lang="es-CL"/>
        </a:p>
      </dgm:t>
    </dgm:pt>
    <dgm:pt modelId="{7DB4B553-72A7-4FF9-B727-A5ED9EFFB9B7}" type="pres">
      <dgm:prSet presAssocID="{85DA331A-5516-44BC-A743-36C2236207E4}" presName="desTx" presStyleLbl="fgAcc1" presStyleIdx="1" presStyleCnt="6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42DC59F9-5E82-43BB-9316-646A08342005}" type="pres">
      <dgm:prSet presAssocID="{C1DA1F42-9A83-4B3B-AF4E-E50DD2D3A5CA}" presName="sibTrans" presStyleLbl="sibTrans2D1" presStyleIdx="1" presStyleCnt="5"/>
      <dgm:spPr/>
      <dgm:t>
        <a:bodyPr/>
        <a:lstStyle/>
        <a:p>
          <a:endParaRPr lang="es-CL"/>
        </a:p>
      </dgm:t>
    </dgm:pt>
    <dgm:pt modelId="{6DF431B0-C4C0-4242-8CE3-78B0306CA9B0}" type="pres">
      <dgm:prSet presAssocID="{C1DA1F42-9A83-4B3B-AF4E-E50DD2D3A5CA}" presName="connTx" presStyleLbl="sibTrans2D1" presStyleIdx="1" presStyleCnt="5"/>
      <dgm:spPr/>
      <dgm:t>
        <a:bodyPr/>
        <a:lstStyle/>
        <a:p>
          <a:endParaRPr lang="es-CL"/>
        </a:p>
      </dgm:t>
    </dgm:pt>
    <dgm:pt modelId="{91B4C194-6324-4414-9BB2-4CF5FFE2728E}" type="pres">
      <dgm:prSet presAssocID="{E4E442E3-6602-4679-B88D-576D9D4EB8D5}" presName="composite" presStyleCnt="0"/>
      <dgm:spPr/>
    </dgm:pt>
    <dgm:pt modelId="{B2DB6B9A-2FAC-4199-B1D7-EC4D048A6A86}" type="pres">
      <dgm:prSet presAssocID="{E4E442E3-6602-4679-B88D-576D9D4EB8D5}" presName="parTx" presStyleLbl="node1" presStyleIdx="1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08106DCB-CC1C-41C1-8BE0-30DFC574F0D7}" type="pres">
      <dgm:prSet presAssocID="{E4E442E3-6602-4679-B88D-576D9D4EB8D5}" presName="parSh" presStyleLbl="node1" presStyleIdx="2" presStyleCnt="6"/>
      <dgm:spPr/>
      <dgm:t>
        <a:bodyPr/>
        <a:lstStyle/>
        <a:p>
          <a:endParaRPr lang="es-CL"/>
        </a:p>
      </dgm:t>
    </dgm:pt>
    <dgm:pt modelId="{5FC77E11-6B42-4831-8DFF-044F752E19CD}" type="pres">
      <dgm:prSet presAssocID="{E4E442E3-6602-4679-B88D-576D9D4EB8D5}" presName="desTx" presStyleLbl="fgAcc1" presStyleIdx="2" presStyleCnt="6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EE5A9845-FC0A-443C-860B-A24443AB26D9}" type="pres">
      <dgm:prSet presAssocID="{EFCA07C8-5A97-4D88-B8F5-918653710AD5}" presName="sibTrans" presStyleLbl="sibTrans2D1" presStyleIdx="2" presStyleCnt="5"/>
      <dgm:spPr/>
      <dgm:t>
        <a:bodyPr/>
        <a:lstStyle/>
        <a:p>
          <a:endParaRPr lang="es-CL"/>
        </a:p>
      </dgm:t>
    </dgm:pt>
    <dgm:pt modelId="{12852F5F-EA01-4B08-B132-A742F7F63EDD}" type="pres">
      <dgm:prSet presAssocID="{EFCA07C8-5A97-4D88-B8F5-918653710AD5}" presName="connTx" presStyleLbl="sibTrans2D1" presStyleIdx="2" presStyleCnt="5"/>
      <dgm:spPr/>
      <dgm:t>
        <a:bodyPr/>
        <a:lstStyle/>
        <a:p>
          <a:endParaRPr lang="es-CL"/>
        </a:p>
      </dgm:t>
    </dgm:pt>
    <dgm:pt modelId="{DABDFA97-F74A-4B0F-99F8-44D026398247}" type="pres">
      <dgm:prSet presAssocID="{EB30A4A7-6BB7-4D47-BF5B-434AE6DB9698}" presName="composite" presStyleCnt="0"/>
      <dgm:spPr/>
    </dgm:pt>
    <dgm:pt modelId="{74766CAD-C352-4737-AE67-C11BA379FB66}" type="pres">
      <dgm:prSet presAssocID="{EB30A4A7-6BB7-4D47-BF5B-434AE6DB9698}" presName="parTx" presStyleLbl="node1" presStyleIdx="2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B9FA3567-2EB3-448F-A736-9120A70B595E}" type="pres">
      <dgm:prSet presAssocID="{EB30A4A7-6BB7-4D47-BF5B-434AE6DB9698}" presName="parSh" presStyleLbl="node1" presStyleIdx="3" presStyleCnt="6"/>
      <dgm:spPr/>
      <dgm:t>
        <a:bodyPr/>
        <a:lstStyle/>
        <a:p>
          <a:endParaRPr lang="es-CL"/>
        </a:p>
      </dgm:t>
    </dgm:pt>
    <dgm:pt modelId="{5A392587-AB70-4079-81E9-659DC44D2DFD}" type="pres">
      <dgm:prSet presAssocID="{EB30A4A7-6BB7-4D47-BF5B-434AE6DB9698}" presName="desTx" presStyleLbl="fgAcc1" presStyleIdx="3" presStyleCnt="6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53494C76-2CC5-4AC2-8531-C1A31A084076}" type="pres">
      <dgm:prSet presAssocID="{FD61E2DF-71D6-4B29-883E-E9EECCD10C1F}" presName="sibTrans" presStyleLbl="sibTrans2D1" presStyleIdx="3" presStyleCnt="5"/>
      <dgm:spPr/>
      <dgm:t>
        <a:bodyPr/>
        <a:lstStyle/>
        <a:p>
          <a:endParaRPr lang="es-CL"/>
        </a:p>
      </dgm:t>
    </dgm:pt>
    <dgm:pt modelId="{EBC85598-05B2-47EC-9EAC-150364CA70DD}" type="pres">
      <dgm:prSet presAssocID="{FD61E2DF-71D6-4B29-883E-E9EECCD10C1F}" presName="connTx" presStyleLbl="sibTrans2D1" presStyleIdx="3" presStyleCnt="5"/>
      <dgm:spPr/>
      <dgm:t>
        <a:bodyPr/>
        <a:lstStyle/>
        <a:p>
          <a:endParaRPr lang="es-CL"/>
        </a:p>
      </dgm:t>
    </dgm:pt>
    <dgm:pt modelId="{361E40BA-3510-4A63-9378-8A76146EE598}" type="pres">
      <dgm:prSet presAssocID="{F493251E-E08B-429D-B68D-5B00B6F38548}" presName="composite" presStyleCnt="0"/>
      <dgm:spPr/>
    </dgm:pt>
    <dgm:pt modelId="{00AB912F-CBC2-4DD3-AAC2-79699A48AD7C}" type="pres">
      <dgm:prSet presAssocID="{F493251E-E08B-429D-B68D-5B00B6F38548}" presName="parTx" presStyleLbl="node1" presStyleIdx="3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12EDE353-9772-4315-821B-D61851D7FC5E}" type="pres">
      <dgm:prSet presAssocID="{F493251E-E08B-429D-B68D-5B00B6F38548}" presName="parSh" presStyleLbl="node1" presStyleIdx="4" presStyleCnt="6"/>
      <dgm:spPr/>
      <dgm:t>
        <a:bodyPr/>
        <a:lstStyle/>
        <a:p>
          <a:endParaRPr lang="es-CL"/>
        </a:p>
      </dgm:t>
    </dgm:pt>
    <dgm:pt modelId="{E7512F1E-EAEB-4A72-96C4-89D1CAE5FBC1}" type="pres">
      <dgm:prSet presAssocID="{F493251E-E08B-429D-B68D-5B00B6F38548}" presName="desTx" presStyleLbl="fgAcc1" presStyleIdx="4" presStyleCnt="6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97F1010C-E68B-43CE-B941-31CE491A3974}" type="pres">
      <dgm:prSet presAssocID="{CE53C219-7E61-49DE-81D1-57D85154D323}" presName="sibTrans" presStyleLbl="sibTrans2D1" presStyleIdx="4" presStyleCnt="5"/>
      <dgm:spPr/>
      <dgm:t>
        <a:bodyPr/>
        <a:lstStyle/>
        <a:p>
          <a:endParaRPr lang="es-CL"/>
        </a:p>
      </dgm:t>
    </dgm:pt>
    <dgm:pt modelId="{9A0DC722-2817-4E4A-85A8-42F01BD4F69C}" type="pres">
      <dgm:prSet presAssocID="{CE53C219-7E61-49DE-81D1-57D85154D323}" presName="connTx" presStyleLbl="sibTrans2D1" presStyleIdx="4" presStyleCnt="5"/>
      <dgm:spPr/>
      <dgm:t>
        <a:bodyPr/>
        <a:lstStyle/>
        <a:p>
          <a:endParaRPr lang="es-CL"/>
        </a:p>
      </dgm:t>
    </dgm:pt>
    <dgm:pt modelId="{B58B323F-56D5-4033-BD0B-F6E8B91B4C0E}" type="pres">
      <dgm:prSet presAssocID="{28794011-8A5C-49B8-A81E-3EDE0210B8CF}" presName="composite" presStyleCnt="0"/>
      <dgm:spPr/>
    </dgm:pt>
    <dgm:pt modelId="{4826A525-7FD0-4BA1-933D-1883F30D27FC}" type="pres">
      <dgm:prSet presAssocID="{28794011-8A5C-49B8-A81E-3EDE0210B8CF}" presName="parTx" presStyleLbl="node1" presStyleIdx="4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BACF0FF0-093A-4372-95EA-9B20217E7DEA}" type="pres">
      <dgm:prSet presAssocID="{28794011-8A5C-49B8-A81E-3EDE0210B8CF}" presName="parSh" presStyleLbl="node1" presStyleIdx="5" presStyleCnt="6"/>
      <dgm:spPr/>
      <dgm:t>
        <a:bodyPr/>
        <a:lstStyle/>
        <a:p>
          <a:endParaRPr lang="es-CL"/>
        </a:p>
      </dgm:t>
    </dgm:pt>
    <dgm:pt modelId="{B95A0AEF-98A1-4D68-A8F7-3ECAB3237938}" type="pres">
      <dgm:prSet presAssocID="{28794011-8A5C-49B8-A81E-3EDE0210B8CF}" presName="desTx" presStyleLbl="fgAcc1" presStyleIdx="5" presStyleCnt="6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</dgm:ptLst>
  <dgm:cxnLst>
    <dgm:cxn modelId="{2E28FDFC-770A-482B-926B-99962FBAF2B7}" type="presOf" srcId="{6DBB3E16-7892-44DD-8539-C13C9691F077}" destId="{B95A0AEF-98A1-4D68-A8F7-3ECAB3237938}" srcOrd="0" destOrd="1" presId="urn:microsoft.com/office/officeart/2005/8/layout/process3"/>
    <dgm:cxn modelId="{B9E43237-E8D7-4F61-AED0-162C5F31F922}" type="presOf" srcId="{C1DA1F42-9A83-4B3B-AF4E-E50DD2D3A5CA}" destId="{6DF431B0-C4C0-4242-8CE3-78B0306CA9B0}" srcOrd="1" destOrd="0" presId="urn:microsoft.com/office/officeart/2005/8/layout/process3"/>
    <dgm:cxn modelId="{B80E9A78-84DB-49EE-AF4A-79DE620AED6F}" type="presOf" srcId="{9E0BE288-2A59-49BC-83F9-6331B26A0BD9}" destId="{F9613E10-4AF5-4315-BA61-FEFDF1819EC9}" srcOrd="0" destOrd="0" presId="urn:microsoft.com/office/officeart/2005/8/layout/process3"/>
    <dgm:cxn modelId="{47D182F1-EE9E-4654-AD25-CB3EDABC0DE4}" srcId="{BAE9E3D4-12B4-424B-B6C3-46B16F35E00B}" destId="{9E0BE288-2A59-49BC-83F9-6331B26A0BD9}" srcOrd="0" destOrd="0" parTransId="{80868A44-E0B4-4449-A203-3C67A5669340}" sibTransId="{1EB487D0-3080-43CD-B0FF-5E9B73E60F20}"/>
    <dgm:cxn modelId="{FFF9079B-670E-44E5-A631-D52F619E1C73}" type="presOf" srcId="{EFCA07C8-5A97-4D88-B8F5-918653710AD5}" destId="{12852F5F-EA01-4B08-B132-A742F7F63EDD}" srcOrd="1" destOrd="0" presId="urn:microsoft.com/office/officeart/2005/8/layout/process3"/>
    <dgm:cxn modelId="{ECFC9F7C-F1A0-49E1-A5A4-C7570F7E9109}" type="presOf" srcId="{FD61E2DF-71D6-4B29-883E-E9EECCD10C1F}" destId="{53494C76-2CC5-4AC2-8531-C1A31A084076}" srcOrd="0" destOrd="0" presId="urn:microsoft.com/office/officeart/2005/8/layout/process3"/>
    <dgm:cxn modelId="{7B16DF1E-D591-42B1-99DE-97BAA9EAD320}" type="presOf" srcId="{A08484AB-A8FA-4F2A-8E38-95843B6B4E3D}" destId="{1F835DD6-4732-4D27-B078-33C3EBCDE3D6}" srcOrd="1" destOrd="0" presId="urn:microsoft.com/office/officeart/2005/8/layout/process3"/>
    <dgm:cxn modelId="{255D0E17-8642-485B-BA8A-40F44C20DAD6}" srcId="{2D361DC0-BEA9-40CA-BDEF-7B10EF24FF0D}" destId="{E4E442E3-6602-4679-B88D-576D9D4EB8D5}" srcOrd="2" destOrd="0" parTransId="{ADB5547B-4331-4D3B-ADEE-D8DD064187CB}" sibTransId="{EFCA07C8-5A97-4D88-B8F5-918653710AD5}"/>
    <dgm:cxn modelId="{E6086DC9-259F-4956-A2C4-E41C3E03BAB7}" srcId="{28794011-8A5C-49B8-A81E-3EDE0210B8CF}" destId="{6DBB3E16-7892-44DD-8539-C13C9691F077}" srcOrd="1" destOrd="0" parTransId="{FC73A08E-1E8A-4FA3-87D1-765F7094957D}" sibTransId="{4D11F728-5E62-4453-81DC-CC3621ABA586}"/>
    <dgm:cxn modelId="{73D4EC7F-D1E2-41E6-A27B-A670F2B06585}" srcId="{2D361DC0-BEA9-40CA-BDEF-7B10EF24FF0D}" destId="{BAE9E3D4-12B4-424B-B6C3-46B16F35E00B}" srcOrd="0" destOrd="0" parTransId="{AEE30E70-E30B-472C-8D53-A11C4895173D}" sibTransId="{A08484AB-A8FA-4F2A-8E38-95843B6B4E3D}"/>
    <dgm:cxn modelId="{32FDDC8C-9260-4A30-95AC-1091A01C681E}" type="presOf" srcId="{280C946E-F19C-4C8C-86A0-41923ED59F28}" destId="{7DB4B553-72A7-4FF9-B727-A5ED9EFFB9B7}" srcOrd="0" destOrd="0" presId="urn:microsoft.com/office/officeart/2005/8/layout/process3"/>
    <dgm:cxn modelId="{A0CFE273-1B2D-41AF-9D99-781C56E1E4F5}" type="presOf" srcId="{2D361DC0-BEA9-40CA-BDEF-7B10EF24FF0D}" destId="{A5C142F1-565D-406A-9882-2F32F435DB94}" srcOrd="0" destOrd="0" presId="urn:microsoft.com/office/officeart/2005/8/layout/process3"/>
    <dgm:cxn modelId="{47BE3CE9-14CC-40C5-BA4A-1EA790264973}" type="presOf" srcId="{BAE9E3D4-12B4-424B-B6C3-46B16F35E00B}" destId="{63AAF89D-9BD7-4BFA-A8D0-9A4AD267F242}" srcOrd="0" destOrd="0" presId="urn:microsoft.com/office/officeart/2005/8/layout/process3"/>
    <dgm:cxn modelId="{46B731FA-21A0-49EB-AA58-1D093864D380}" srcId="{2D361DC0-BEA9-40CA-BDEF-7B10EF24FF0D}" destId="{F493251E-E08B-429D-B68D-5B00B6F38548}" srcOrd="4" destOrd="0" parTransId="{2079C90C-135A-4DFC-B6B3-D6A725DC6269}" sibTransId="{CE53C219-7E61-49DE-81D1-57D85154D323}"/>
    <dgm:cxn modelId="{E2A67E84-E94D-4C0B-A81D-F17A55A6B31C}" type="presOf" srcId="{85DA331A-5516-44BC-A743-36C2236207E4}" destId="{ECBF15C4-F2A1-4FEE-8F01-C282D0B1B3DD}" srcOrd="0" destOrd="0" presId="urn:microsoft.com/office/officeart/2005/8/layout/process3"/>
    <dgm:cxn modelId="{47771860-1C40-44BB-95AD-5E20600BCB4A}" type="presOf" srcId="{CE53C219-7E61-49DE-81D1-57D85154D323}" destId="{9A0DC722-2817-4E4A-85A8-42F01BD4F69C}" srcOrd="1" destOrd="0" presId="urn:microsoft.com/office/officeart/2005/8/layout/process3"/>
    <dgm:cxn modelId="{92BB0105-DB08-46BD-8A83-887F5DE3BB82}" type="presOf" srcId="{A5266FBF-DA08-44E3-B654-B6EB186BB335}" destId="{E7512F1E-EAEB-4A72-96C4-89D1CAE5FBC1}" srcOrd="0" destOrd="0" presId="urn:microsoft.com/office/officeart/2005/8/layout/process3"/>
    <dgm:cxn modelId="{8BC666D1-6AFA-48CE-8089-B98AAB40C1FB}" srcId="{28794011-8A5C-49B8-A81E-3EDE0210B8CF}" destId="{5634AFE0-512D-44E0-9A70-031E41B054D3}" srcOrd="0" destOrd="0" parTransId="{807A173A-FCB1-4494-B3E1-FA96C3E39DD2}" sibTransId="{1AB03F8F-E620-4C74-BBAE-2B0291AE89D4}"/>
    <dgm:cxn modelId="{EB3BF7E3-B692-451B-9D27-A755243F4BE6}" type="presOf" srcId="{20B019FF-BF56-4BA3-BD80-327E834982DF}" destId="{5A392587-AB70-4079-81E9-659DC44D2DFD}" srcOrd="0" destOrd="0" presId="urn:microsoft.com/office/officeart/2005/8/layout/process3"/>
    <dgm:cxn modelId="{8DF751AA-A537-412B-8872-7E7A6A8203B2}" type="presOf" srcId="{C1DA1F42-9A83-4B3B-AF4E-E50DD2D3A5CA}" destId="{42DC59F9-5E82-43BB-9316-646A08342005}" srcOrd="0" destOrd="0" presId="urn:microsoft.com/office/officeart/2005/8/layout/process3"/>
    <dgm:cxn modelId="{AC4C3927-0FC6-435E-8624-37B7A5C41A13}" type="presOf" srcId="{5634AFE0-512D-44E0-9A70-031E41B054D3}" destId="{B95A0AEF-98A1-4D68-A8F7-3ECAB3237938}" srcOrd="0" destOrd="0" presId="urn:microsoft.com/office/officeart/2005/8/layout/process3"/>
    <dgm:cxn modelId="{DADD6335-3724-4002-B367-B80B9C81C1A4}" srcId="{2D361DC0-BEA9-40CA-BDEF-7B10EF24FF0D}" destId="{EB30A4A7-6BB7-4D47-BF5B-434AE6DB9698}" srcOrd="3" destOrd="0" parTransId="{FFDBBC71-35DA-4B40-8966-16B91E8869BC}" sibTransId="{FD61E2DF-71D6-4B29-883E-E9EECCD10C1F}"/>
    <dgm:cxn modelId="{B8DAFBF7-E5D5-4908-BBA0-6EF110C0F207}" type="presOf" srcId="{EB30A4A7-6BB7-4D47-BF5B-434AE6DB9698}" destId="{74766CAD-C352-4737-AE67-C11BA379FB66}" srcOrd="0" destOrd="0" presId="urn:microsoft.com/office/officeart/2005/8/layout/process3"/>
    <dgm:cxn modelId="{A0A3CE41-65D7-4C46-A0D7-476C016E02B2}" type="presOf" srcId="{28794011-8A5C-49B8-A81E-3EDE0210B8CF}" destId="{BACF0FF0-093A-4372-95EA-9B20217E7DEA}" srcOrd="1" destOrd="0" presId="urn:microsoft.com/office/officeart/2005/8/layout/process3"/>
    <dgm:cxn modelId="{2082B0DC-830A-45F1-99F7-756BE8065854}" srcId="{2D361DC0-BEA9-40CA-BDEF-7B10EF24FF0D}" destId="{85DA331A-5516-44BC-A743-36C2236207E4}" srcOrd="1" destOrd="0" parTransId="{FB632FA4-7F8A-47E1-8ED4-602DBB189317}" sibTransId="{C1DA1F42-9A83-4B3B-AF4E-E50DD2D3A5CA}"/>
    <dgm:cxn modelId="{C998469F-7B22-456A-AF61-8D475544921C}" type="presOf" srcId="{F493251E-E08B-429D-B68D-5B00B6F38548}" destId="{00AB912F-CBC2-4DD3-AAC2-79699A48AD7C}" srcOrd="0" destOrd="0" presId="urn:microsoft.com/office/officeart/2005/8/layout/process3"/>
    <dgm:cxn modelId="{9A49E9F4-FEC5-4661-9CB5-5F591943D8E9}" type="presOf" srcId="{E4E442E3-6602-4679-B88D-576D9D4EB8D5}" destId="{08106DCB-CC1C-41C1-8BE0-30DFC574F0D7}" srcOrd="1" destOrd="0" presId="urn:microsoft.com/office/officeart/2005/8/layout/process3"/>
    <dgm:cxn modelId="{4828C5E9-3C12-47EA-A6C8-2AD398A71453}" type="presOf" srcId="{FD61E2DF-71D6-4B29-883E-E9EECCD10C1F}" destId="{EBC85598-05B2-47EC-9EAC-150364CA70DD}" srcOrd="1" destOrd="0" presId="urn:microsoft.com/office/officeart/2005/8/layout/process3"/>
    <dgm:cxn modelId="{61A34027-13E2-4856-9157-5B8AC44D79F8}" srcId="{2D361DC0-BEA9-40CA-BDEF-7B10EF24FF0D}" destId="{28794011-8A5C-49B8-A81E-3EDE0210B8CF}" srcOrd="5" destOrd="0" parTransId="{181BF12A-E294-45B2-B040-775B361D4EA2}" sibTransId="{C27F5A04-0D32-4DD2-B460-75C65F1EA7C7}"/>
    <dgm:cxn modelId="{B5ABE72D-FFD5-477E-9A39-9AF34FB14518}" srcId="{EB30A4A7-6BB7-4D47-BF5B-434AE6DB9698}" destId="{20B019FF-BF56-4BA3-BD80-327E834982DF}" srcOrd="0" destOrd="0" parTransId="{02023DF6-E157-4AA6-817F-C7CEBB3E98FB}" sibTransId="{C476952E-5A96-4230-B8A4-546C205C40F9}"/>
    <dgm:cxn modelId="{30813091-FF95-4F04-ADEA-29E665E129EF}" type="presOf" srcId="{F493251E-E08B-429D-B68D-5B00B6F38548}" destId="{12EDE353-9772-4315-821B-D61851D7FC5E}" srcOrd="1" destOrd="0" presId="urn:microsoft.com/office/officeart/2005/8/layout/process3"/>
    <dgm:cxn modelId="{CFB82A47-2FAD-47F8-9EC8-104C682F087C}" type="presOf" srcId="{BAE9E3D4-12B4-424B-B6C3-46B16F35E00B}" destId="{ACF59AB7-CFBF-41C7-98D5-773CCE0B5142}" srcOrd="1" destOrd="0" presId="urn:microsoft.com/office/officeart/2005/8/layout/process3"/>
    <dgm:cxn modelId="{AA54E14E-B7FC-4520-976C-8C799020827D}" srcId="{E4E442E3-6602-4679-B88D-576D9D4EB8D5}" destId="{499AFD43-8386-4454-A427-9116719B4C8F}" srcOrd="0" destOrd="0" parTransId="{D1AA8796-8841-4AB1-9DB9-55B3C352F571}" sibTransId="{F2D5E353-32FE-4F83-A1D7-DBD016CEF36F}"/>
    <dgm:cxn modelId="{36C13211-293E-4A01-A7B5-8DB33E8B3030}" type="presOf" srcId="{85DA331A-5516-44BC-A743-36C2236207E4}" destId="{1DCF5D61-BD35-483A-A518-BABBF586384C}" srcOrd="1" destOrd="0" presId="urn:microsoft.com/office/officeart/2005/8/layout/process3"/>
    <dgm:cxn modelId="{A6ED9920-0904-4C80-A626-D7EC666D5BA9}" type="presOf" srcId="{A08484AB-A8FA-4F2A-8E38-95843B6B4E3D}" destId="{955110DD-3C28-493F-8E00-BC36F8A4A66A}" srcOrd="0" destOrd="0" presId="urn:microsoft.com/office/officeart/2005/8/layout/process3"/>
    <dgm:cxn modelId="{C4478107-A6B1-4ACD-8D5E-F79F24413B28}" type="presOf" srcId="{28794011-8A5C-49B8-A81E-3EDE0210B8CF}" destId="{4826A525-7FD0-4BA1-933D-1883F30D27FC}" srcOrd="0" destOrd="0" presId="urn:microsoft.com/office/officeart/2005/8/layout/process3"/>
    <dgm:cxn modelId="{75398192-2621-4DA0-82D3-E716CC7B6D0D}" type="presOf" srcId="{499AFD43-8386-4454-A427-9116719B4C8F}" destId="{5FC77E11-6B42-4831-8DFF-044F752E19CD}" srcOrd="0" destOrd="0" presId="urn:microsoft.com/office/officeart/2005/8/layout/process3"/>
    <dgm:cxn modelId="{9CD20EE4-17BF-4A9A-AE6D-5BBA4FECCE31}" type="presOf" srcId="{EB30A4A7-6BB7-4D47-BF5B-434AE6DB9698}" destId="{B9FA3567-2EB3-448F-A736-9120A70B595E}" srcOrd="1" destOrd="0" presId="urn:microsoft.com/office/officeart/2005/8/layout/process3"/>
    <dgm:cxn modelId="{4177F7F8-AA3C-476A-A196-E6A786EC7015}" srcId="{F493251E-E08B-429D-B68D-5B00B6F38548}" destId="{A5266FBF-DA08-44E3-B654-B6EB186BB335}" srcOrd="0" destOrd="0" parTransId="{3066258A-D898-443F-9750-516CD1D6CCC6}" sibTransId="{D032018F-B211-4A25-994C-73A7757782EF}"/>
    <dgm:cxn modelId="{00839260-0D61-4195-87E4-CC7DBD4A8FCD}" type="presOf" srcId="{CE53C219-7E61-49DE-81D1-57D85154D323}" destId="{97F1010C-E68B-43CE-B941-31CE491A3974}" srcOrd="0" destOrd="0" presId="urn:microsoft.com/office/officeart/2005/8/layout/process3"/>
    <dgm:cxn modelId="{761A4A51-EF03-41CE-B9E1-B50F21FFDCBD}" type="presOf" srcId="{E4E442E3-6602-4679-B88D-576D9D4EB8D5}" destId="{B2DB6B9A-2FAC-4199-B1D7-EC4D048A6A86}" srcOrd="0" destOrd="0" presId="urn:microsoft.com/office/officeart/2005/8/layout/process3"/>
    <dgm:cxn modelId="{E6D59E5C-FA65-4C82-9578-27CB17FEF6C0}" srcId="{85DA331A-5516-44BC-A743-36C2236207E4}" destId="{280C946E-F19C-4C8C-86A0-41923ED59F28}" srcOrd="0" destOrd="0" parTransId="{F8EFB3A8-BF9C-4837-84B5-AB5FD1C8780C}" sibTransId="{000E1D95-FB70-4D71-B109-004E4D7FB0F0}"/>
    <dgm:cxn modelId="{5F04EE3C-6AD5-45DE-8E4F-B05981A14DF1}" type="presOf" srcId="{EFCA07C8-5A97-4D88-B8F5-918653710AD5}" destId="{EE5A9845-FC0A-443C-860B-A24443AB26D9}" srcOrd="0" destOrd="0" presId="urn:microsoft.com/office/officeart/2005/8/layout/process3"/>
    <dgm:cxn modelId="{252C0D46-E7BC-4BD0-9DFA-9855A5C46863}" type="presParOf" srcId="{A5C142F1-565D-406A-9882-2F32F435DB94}" destId="{398940FB-A467-479F-A7B6-C0673A92A6F6}" srcOrd="0" destOrd="0" presId="urn:microsoft.com/office/officeart/2005/8/layout/process3"/>
    <dgm:cxn modelId="{5C0D1856-554B-4500-8C6A-05A18492AE02}" type="presParOf" srcId="{398940FB-A467-479F-A7B6-C0673A92A6F6}" destId="{63AAF89D-9BD7-4BFA-A8D0-9A4AD267F242}" srcOrd="0" destOrd="0" presId="urn:microsoft.com/office/officeart/2005/8/layout/process3"/>
    <dgm:cxn modelId="{4ECF2028-2578-43CA-821E-B9334E10D1B9}" type="presParOf" srcId="{398940FB-A467-479F-A7B6-C0673A92A6F6}" destId="{ACF59AB7-CFBF-41C7-98D5-773CCE0B5142}" srcOrd="1" destOrd="0" presId="urn:microsoft.com/office/officeart/2005/8/layout/process3"/>
    <dgm:cxn modelId="{81986C66-6004-4392-8273-06C6107DEAFA}" type="presParOf" srcId="{398940FB-A467-479F-A7B6-C0673A92A6F6}" destId="{F9613E10-4AF5-4315-BA61-FEFDF1819EC9}" srcOrd="2" destOrd="0" presId="urn:microsoft.com/office/officeart/2005/8/layout/process3"/>
    <dgm:cxn modelId="{010F81FE-23DE-43DD-8575-3FCD648DAD2C}" type="presParOf" srcId="{A5C142F1-565D-406A-9882-2F32F435DB94}" destId="{955110DD-3C28-493F-8E00-BC36F8A4A66A}" srcOrd="1" destOrd="0" presId="urn:microsoft.com/office/officeart/2005/8/layout/process3"/>
    <dgm:cxn modelId="{F0B4C7EF-95BF-4234-A27E-7B5A587EF7FA}" type="presParOf" srcId="{955110DD-3C28-493F-8E00-BC36F8A4A66A}" destId="{1F835DD6-4732-4D27-B078-33C3EBCDE3D6}" srcOrd="0" destOrd="0" presId="urn:microsoft.com/office/officeart/2005/8/layout/process3"/>
    <dgm:cxn modelId="{6923945C-A359-4289-8699-A0E11CBBFDDE}" type="presParOf" srcId="{A5C142F1-565D-406A-9882-2F32F435DB94}" destId="{2752D53B-4C69-4194-91FE-3E7BF2D2BCB9}" srcOrd="2" destOrd="0" presId="urn:microsoft.com/office/officeart/2005/8/layout/process3"/>
    <dgm:cxn modelId="{C3570480-1014-4BE8-BFB5-DB888D953EA6}" type="presParOf" srcId="{2752D53B-4C69-4194-91FE-3E7BF2D2BCB9}" destId="{ECBF15C4-F2A1-4FEE-8F01-C282D0B1B3DD}" srcOrd="0" destOrd="0" presId="urn:microsoft.com/office/officeart/2005/8/layout/process3"/>
    <dgm:cxn modelId="{760EC59B-1408-4E8A-8282-94B5E3A777E5}" type="presParOf" srcId="{2752D53B-4C69-4194-91FE-3E7BF2D2BCB9}" destId="{1DCF5D61-BD35-483A-A518-BABBF586384C}" srcOrd="1" destOrd="0" presId="urn:microsoft.com/office/officeart/2005/8/layout/process3"/>
    <dgm:cxn modelId="{20D75DCE-53F4-4FAB-8B22-7166542AD42C}" type="presParOf" srcId="{2752D53B-4C69-4194-91FE-3E7BF2D2BCB9}" destId="{7DB4B553-72A7-4FF9-B727-A5ED9EFFB9B7}" srcOrd="2" destOrd="0" presId="urn:microsoft.com/office/officeart/2005/8/layout/process3"/>
    <dgm:cxn modelId="{232B39DB-F327-46B1-92E2-DAC8F45589B2}" type="presParOf" srcId="{A5C142F1-565D-406A-9882-2F32F435DB94}" destId="{42DC59F9-5E82-43BB-9316-646A08342005}" srcOrd="3" destOrd="0" presId="urn:microsoft.com/office/officeart/2005/8/layout/process3"/>
    <dgm:cxn modelId="{8E447A10-0692-47BB-AE8C-928DF40DF56D}" type="presParOf" srcId="{42DC59F9-5E82-43BB-9316-646A08342005}" destId="{6DF431B0-C4C0-4242-8CE3-78B0306CA9B0}" srcOrd="0" destOrd="0" presId="urn:microsoft.com/office/officeart/2005/8/layout/process3"/>
    <dgm:cxn modelId="{E017CBDC-8E03-4F40-BFDE-11C25F585C27}" type="presParOf" srcId="{A5C142F1-565D-406A-9882-2F32F435DB94}" destId="{91B4C194-6324-4414-9BB2-4CF5FFE2728E}" srcOrd="4" destOrd="0" presId="urn:microsoft.com/office/officeart/2005/8/layout/process3"/>
    <dgm:cxn modelId="{BE70C0ED-49B6-4A7C-8F25-6877F3171E67}" type="presParOf" srcId="{91B4C194-6324-4414-9BB2-4CF5FFE2728E}" destId="{B2DB6B9A-2FAC-4199-B1D7-EC4D048A6A86}" srcOrd="0" destOrd="0" presId="urn:microsoft.com/office/officeart/2005/8/layout/process3"/>
    <dgm:cxn modelId="{7B221AED-0A19-438F-BB9B-0C1252DFD79D}" type="presParOf" srcId="{91B4C194-6324-4414-9BB2-4CF5FFE2728E}" destId="{08106DCB-CC1C-41C1-8BE0-30DFC574F0D7}" srcOrd="1" destOrd="0" presId="urn:microsoft.com/office/officeart/2005/8/layout/process3"/>
    <dgm:cxn modelId="{F7BC5A0A-00F7-47C8-9E81-10E2EB0BFC2F}" type="presParOf" srcId="{91B4C194-6324-4414-9BB2-4CF5FFE2728E}" destId="{5FC77E11-6B42-4831-8DFF-044F752E19CD}" srcOrd="2" destOrd="0" presId="urn:microsoft.com/office/officeart/2005/8/layout/process3"/>
    <dgm:cxn modelId="{7E431085-6E48-494D-812E-FF5216E82E8F}" type="presParOf" srcId="{A5C142F1-565D-406A-9882-2F32F435DB94}" destId="{EE5A9845-FC0A-443C-860B-A24443AB26D9}" srcOrd="5" destOrd="0" presId="urn:microsoft.com/office/officeart/2005/8/layout/process3"/>
    <dgm:cxn modelId="{8B70AF6B-4E4F-46E9-B30F-40A43D817EA7}" type="presParOf" srcId="{EE5A9845-FC0A-443C-860B-A24443AB26D9}" destId="{12852F5F-EA01-4B08-B132-A742F7F63EDD}" srcOrd="0" destOrd="0" presId="urn:microsoft.com/office/officeart/2005/8/layout/process3"/>
    <dgm:cxn modelId="{84A0D445-B99B-4BEB-9FB9-82F249AD86C9}" type="presParOf" srcId="{A5C142F1-565D-406A-9882-2F32F435DB94}" destId="{DABDFA97-F74A-4B0F-99F8-44D026398247}" srcOrd="6" destOrd="0" presId="urn:microsoft.com/office/officeart/2005/8/layout/process3"/>
    <dgm:cxn modelId="{772EE1CC-F861-4FCA-8AE6-7196C7E983ED}" type="presParOf" srcId="{DABDFA97-F74A-4B0F-99F8-44D026398247}" destId="{74766CAD-C352-4737-AE67-C11BA379FB66}" srcOrd="0" destOrd="0" presId="urn:microsoft.com/office/officeart/2005/8/layout/process3"/>
    <dgm:cxn modelId="{7B79184B-ADEA-4E23-B915-274CBA7A8EEF}" type="presParOf" srcId="{DABDFA97-F74A-4B0F-99F8-44D026398247}" destId="{B9FA3567-2EB3-448F-A736-9120A70B595E}" srcOrd="1" destOrd="0" presId="urn:microsoft.com/office/officeart/2005/8/layout/process3"/>
    <dgm:cxn modelId="{EED59245-6FD5-458F-96C7-07BD10DDFC73}" type="presParOf" srcId="{DABDFA97-F74A-4B0F-99F8-44D026398247}" destId="{5A392587-AB70-4079-81E9-659DC44D2DFD}" srcOrd="2" destOrd="0" presId="urn:microsoft.com/office/officeart/2005/8/layout/process3"/>
    <dgm:cxn modelId="{D3C9C70E-2C81-492A-BD2F-3B0E1864084A}" type="presParOf" srcId="{A5C142F1-565D-406A-9882-2F32F435DB94}" destId="{53494C76-2CC5-4AC2-8531-C1A31A084076}" srcOrd="7" destOrd="0" presId="urn:microsoft.com/office/officeart/2005/8/layout/process3"/>
    <dgm:cxn modelId="{1B371A9E-B805-4D81-992C-BB6D2C1D653B}" type="presParOf" srcId="{53494C76-2CC5-4AC2-8531-C1A31A084076}" destId="{EBC85598-05B2-47EC-9EAC-150364CA70DD}" srcOrd="0" destOrd="0" presId="urn:microsoft.com/office/officeart/2005/8/layout/process3"/>
    <dgm:cxn modelId="{793BB419-3A2E-4569-AD9E-73C058774E97}" type="presParOf" srcId="{A5C142F1-565D-406A-9882-2F32F435DB94}" destId="{361E40BA-3510-4A63-9378-8A76146EE598}" srcOrd="8" destOrd="0" presId="urn:microsoft.com/office/officeart/2005/8/layout/process3"/>
    <dgm:cxn modelId="{0E49151F-7C44-454D-A53F-FFAEFBE9CFE8}" type="presParOf" srcId="{361E40BA-3510-4A63-9378-8A76146EE598}" destId="{00AB912F-CBC2-4DD3-AAC2-79699A48AD7C}" srcOrd="0" destOrd="0" presId="urn:microsoft.com/office/officeart/2005/8/layout/process3"/>
    <dgm:cxn modelId="{22FB4F1A-C033-40CD-A00D-0BF0201E4817}" type="presParOf" srcId="{361E40BA-3510-4A63-9378-8A76146EE598}" destId="{12EDE353-9772-4315-821B-D61851D7FC5E}" srcOrd="1" destOrd="0" presId="urn:microsoft.com/office/officeart/2005/8/layout/process3"/>
    <dgm:cxn modelId="{FA963F68-4CC6-4E45-A38C-03835511AEA3}" type="presParOf" srcId="{361E40BA-3510-4A63-9378-8A76146EE598}" destId="{E7512F1E-EAEB-4A72-96C4-89D1CAE5FBC1}" srcOrd="2" destOrd="0" presId="urn:microsoft.com/office/officeart/2005/8/layout/process3"/>
    <dgm:cxn modelId="{A6649459-E515-4BD1-8D74-693D3B163E83}" type="presParOf" srcId="{A5C142F1-565D-406A-9882-2F32F435DB94}" destId="{97F1010C-E68B-43CE-B941-31CE491A3974}" srcOrd="9" destOrd="0" presId="urn:microsoft.com/office/officeart/2005/8/layout/process3"/>
    <dgm:cxn modelId="{A2580AC5-073A-498D-8D19-C3FF9950FC86}" type="presParOf" srcId="{97F1010C-E68B-43CE-B941-31CE491A3974}" destId="{9A0DC722-2817-4E4A-85A8-42F01BD4F69C}" srcOrd="0" destOrd="0" presId="urn:microsoft.com/office/officeart/2005/8/layout/process3"/>
    <dgm:cxn modelId="{EF7AFF16-05A9-487B-A21E-2F012D34E285}" type="presParOf" srcId="{A5C142F1-565D-406A-9882-2F32F435DB94}" destId="{B58B323F-56D5-4033-BD0B-F6E8B91B4C0E}" srcOrd="10" destOrd="0" presId="urn:microsoft.com/office/officeart/2005/8/layout/process3"/>
    <dgm:cxn modelId="{32813D89-9571-476D-B67D-A80C6A28E351}" type="presParOf" srcId="{B58B323F-56D5-4033-BD0B-F6E8B91B4C0E}" destId="{4826A525-7FD0-4BA1-933D-1883F30D27FC}" srcOrd="0" destOrd="0" presId="urn:microsoft.com/office/officeart/2005/8/layout/process3"/>
    <dgm:cxn modelId="{96A670ED-F4E5-4377-B475-D336244EDBC0}" type="presParOf" srcId="{B58B323F-56D5-4033-BD0B-F6E8B91B4C0E}" destId="{BACF0FF0-093A-4372-95EA-9B20217E7DEA}" srcOrd="1" destOrd="0" presId="urn:microsoft.com/office/officeart/2005/8/layout/process3"/>
    <dgm:cxn modelId="{FCD218F5-3E58-4AB1-90B3-A69A8CFF81E3}" type="presParOf" srcId="{B58B323F-56D5-4033-BD0B-F6E8B91B4C0E}" destId="{B95A0AEF-98A1-4D68-A8F7-3ECAB3237938}" srcOrd="2" destOrd="0" presId="urn:microsoft.com/office/officeart/2005/8/layout/process3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D361DC0-BEA9-40CA-BDEF-7B10EF24FF0D}" type="doc">
      <dgm:prSet loTypeId="urn:microsoft.com/office/officeart/2005/8/layout/process3" loCatId="process" qsTypeId="urn:microsoft.com/office/officeart/2005/8/quickstyle/simple1" qsCatId="simple" csTypeId="urn:microsoft.com/office/officeart/2005/8/colors/accent1_2" csCatId="accent1" phldr="1"/>
      <dgm:spPr/>
    </dgm:pt>
    <dgm:pt modelId="{54E7FB69-85D8-42A5-A632-E9812B196787}">
      <dgm:prSet phldrT="[Texto]"/>
      <dgm:spPr/>
      <dgm:t>
        <a:bodyPr/>
        <a:lstStyle/>
        <a:p>
          <a:r>
            <a:rPr lang="es-CL" dirty="0"/>
            <a:t>Jul 2017</a:t>
          </a:r>
        </a:p>
      </dgm:t>
    </dgm:pt>
    <dgm:pt modelId="{BD778FE8-8374-4041-ABF7-57791D408942}" type="parTrans" cxnId="{D038D808-5E0A-40EE-B287-39D5F981F42D}">
      <dgm:prSet/>
      <dgm:spPr/>
      <dgm:t>
        <a:bodyPr/>
        <a:lstStyle/>
        <a:p>
          <a:endParaRPr lang="es-CL"/>
        </a:p>
      </dgm:t>
    </dgm:pt>
    <dgm:pt modelId="{D8895823-0BF5-4E8A-8FCD-9C5A65CAC84D}" type="sibTrans" cxnId="{D038D808-5E0A-40EE-B287-39D5F981F42D}">
      <dgm:prSet/>
      <dgm:spPr/>
      <dgm:t>
        <a:bodyPr/>
        <a:lstStyle/>
        <a:p>
          <a:endParaRPr lang="es-CL"/>
        </a:p>
      </dgm:t>
    </dgm:pt>
    <dgm:pt modelId="{605E79FD-14A6-405A-9393-32E1E09CD14A}">
      <dgm:prSet phldrT="[Texto]"/>
      <dgm:spPr/>
      <dgm:t>
        <a:bodyPr/>
        <a:lstStyle/>
        <a:p>
          <a:r>
            <a:rPr lang="es-CL" dirty="0"/>
            <a:t>Ord 33019 Definición complementaria riesgo medio</a:t>
          </a:r>
        </a:p>
      </dgm:t>
    </dgm:pt>
    <dgm:pt modelId="{64AAA421-9267-4026-A728-B3D141372B97}" type="parTrans" cxnId="{5726792F-1EF2-4E73-8DAC-618DFF070257}">
      <dgm:prSet/>
      <dgm:spPr/>
      <dgm:t>
        <a:bodyPr/>
        <a:lstStyle/>
        <a:p>
          <a:endParaRPr lang="es-CL"/>
        </a:p>
      </dgm:t>
    </dgm:pt>
    <dgm:pt modelId="{E08B0C7D-399D-4431-BFCB-A979CE4283D2}" type="sibTrans" cxnId="{5726792F-1EF2-4E73-8DAC-618DFF070257}">
      <dgm:prSet/>
      <dgm:spPr/>
      <dgm:t>
        <a:bodyPr/>
        <a:lstStyle/>
        <a:p>
          <a:endParaRPr lang="es-CL"/>
        </a:p>
      </dgm:t>
    </dgm:pt>
    <dgm:pt modelId="{B876459D-9330-4F6A-8C3A-E2DA5726F466}">
      <dgm:prSet phldrT="[Texto]"/>
      <dgm:spPr/>
      <dgm:t>
        <a:bodyPr/>
        <a:lstStyle/>
        <a:p>
          <a:r>
            <a:rPr lang="es-CL" dirty="0"/>
            <a:t>Nov 2017</a:t>
          </a:r>
        </a:p>
      </dgm:t>
    </dgm:pt>
    <dgm:pt modelId="{846ADDA5-EA84-409A-B950-D9462D6CB80A}" type="parTrans" cxnId="{46378E4E-EA27-423A-B696-AD2BEE0A71B8}">
      <dgm:prSet/>
      <dgm:spPr/>
      <dgm:t>
        <a:bodyPr/>
        <a:lstStyle/>
        <a:p>
          <a:endParaRPr lang="es-CL"/>
        </a:p>
      </dgm:t>
    </dgm:pt>
    <dgm:pt modelId="{2EDF444C-1904-47F3-8763-7A4935CD2A37}" type="sibTrans" cxnId="{46378E4E-EA27-423A-B696-AD2BEE0A71B8}">
      <dgm:prSet/>
      <dgm:spPr/>
      <dgm:t>
        <a:bodyPr/>
        <a:lstStyle/>
        <a:p>
          <a:endParaRPr lang="es-CL"/>
        </a:p>
      </dgm:t>
    </dgm:pt>
    <dgm:pt modelId="{AAE1F1A1-813F-4243-81F7-BB8A0D138883}">
      <dgm:prSet phldrT="[Texto]"/>
      <dgm:spPr/>
      <dgm:t>
        <a:bodyPr/>
        <a:lstStyle/>
        <a:p>
          <a:r>
            <a:rPr lang="es-CL" dirty="0"/>
            <a:t>Res 1433 Actualización protocolo de vigilancia de RPS</a:t>
          </a:r>
        </a:p>
      </dgm:t>
    </dgm:pt>
    <dgm:pt modelId="{CA3B627D-63C9-4BE2-875F-2D0D62C2B97A}" type="parTrans" cxnId="{CDB60413-4936-428D-ABB9-9F63BFEFC1AC}">
      <dgm:prSet/>
      <dgm:spPr/>
      <dgm:t>
        <a:bodyPr/>
        <a:lstStyle/>
        <a:p>
          <a:endParaRPr lang="es-CL"/>
        </a:p>
      </dgm:t>
    </dgm:pt>
    <dgm:pt modelId="{3020E995-E08D-4181-BA2D-7A596F9364B2}" type="sibTrans" cxnId="{CDB60413-4936-428D-ABB9-9F63BFEFC1AC}">
      <dgm:prSet/>
      <dgm:spPr/>
      <dgm:t>
        <a:bodyPr/>
        <a:lstStyle/>
        <a:p>
          <a:endParaRPr lang="es-CL"/>
        </a:p>
      </dgm:t>
    </dgm:pt>
    <dgm:pt modelId="{EB3CE6B5-06CE-4D9C-B199-F9AE675A5A14}">
      <dgm:prSet phldrT="[Texto]"/>
      <dgm:spPr/>
      <dgm:t>
        <a:bodyPr/>
        <a:lstStyle/>
        <a:p>
          <a:r>
            <a:rPr lang="es-CL" dirty="0"/>
            <a:t>Dic 2017</a:t>
          </a:r>
        </a:p>
      </dgm:t>
    </dgm:pt>
    <dgm:pt modelId="{BC68AF57-C1F1-421E-A8BB-2BB7A762E165}" type="parTrans" cxnId="{205E288A-84D4-44CE-B030-88C581B9EB24}">
      <dgm:prSet/>
      <dgm:spPr/>
      <dgm:t>
        <a:bodyPr/>
        <a:lstStyle/>
        <a:p>
          <a:endParaRPr lang="es-CL"/>
        </a:p>
      </dgm:t>
    </dgm:pt>
    <dgm:pt modelId="{070964B4-0F8C-4172-8F3D-E88412A6398A}" type="sibTrans" cxnId="{205E288A-84D4-44CE-B030-88C581B9EB24}">
      <dgm:prSet/>
      <dgm:spPr/>
      <dgm:t>
        <a:bodyPr/>
        <a:lstStyle/>
        <a:p>
          <a:endParaRPr lang="es-CL"/>
        </a:p>
      </dgm:t>
    </dgm:pt>
    <dgm:pt modelId="{9DEDAEBE-0A29-403B-8913-D8112CF52F0F}">
      <dgm:prSet phldrT="[Texto]"/>
      <dgm:spPr/>
      <dgm:t>
        <a:bodyPr/>
        <a:lstStyle/>
        <a:p>
          <a:r>
            <a:rPr lang="es-CL" dirty="0"/>
            <a:t>Ord 58114 Actualiza niveles de Riesgo</a:t>
          </a:r>
        </a:p>
      </dgm:t>
    </dgm:pt>
    <dgm:pt modelId="{2B6BE12A-7DF2-4022-B0FE-98F63690A87F}" type="parTrans" cxnId="{98B0664B-6F27-421F-B577-611FEA52FE9F}">
      <dgm:prSet/>
      <dgm:spPr/>
      <dgm:t>
        <a:bodyPr/>
        <a:lstStyle/>
        <a:p>
          <a:endParaRPr lang="es-CL"/>
        </a:p>
      </dgm:t>
    </dgm:pt>
    <dgm:pt modelId="{8118B28E-E732-44CA-948A-BAF070F3A503}" type="sibTrans" cxnId="{98B0664B-6F27-421F-B577-611FEA52FE9F}">
      <dgm:prSet/>
      <dgm:spPr/>
      <dgm:t>
        <a:bodyPr/>
        <a:lstStyle/>
        <a:p>
          <a:endParaRPr lang="es-CL"/>
        </a:p>
      </dgm:t>
    </dgm:pt>
    <dgm:pt modelId="{4ACB078E-B4B7-49FB-AEA0-A27AC4EBBCB0}">
      <dgm:prSet phldrT="[Texto]"/>
      <dgm:spPr/>
      <dgm:t>
        <a:bodyPr/>
        <a:lstStyle/>
        <a:p>
          <a:r>
            <a:rPr lang="es-CL" dirty="0"/>
            <a:t>Mar 2018</a:t>
          </a:r>
        </a:p>
      </dgm:t>
    </dgm:pt>
    <dgm:pt modelId="{C193A929-A0C8-4A1C-A1AB-E28FFF465806}" type="parTrans" cxnId="{CDFD8E72-7C57-4C77-ABF4-CFD8DD15820B}">
      <dgm:prSet/>
      <dgm:spPr/>
      <dgm:t>
        <a:bodyPr/>
        <a:lstStyle/>
        <a:p>
          <a:endParaRPr lang="es-CL"/>
        </a:p>
      </dgm:t>
    </dgm:pt>
    <dgm:pt modelId="{49285D3E-6038-400D-97E4-93300866F08D}" type="sibTrans" cxnId="{CDFD8E72-7C57-4C77-ABF4-CFD8DD15820B}">
      <dgm:prSet/>
      <dgm:spPr/>
      <dgm:t>
        <a:bodyPr/>
        <a:lstStyle/>
        <a:p>
          <a:endParaRPr lang="es-CL"/>
        </a:p>
      </dgm:t>
    </dgm:pt>
    <dgm:pt modelId="{44AA4159-1BBA-4BA0-B277-55DC8C0F5B22}">
      <dgm:prSet phldrT="[Texto]"/>
      <dgm:spPr/>
      <dgm:t>
        <a:bodyPr/>
        <a:lstStyle/>
        <a:p>
          <a:r>
            <a:rPr lang="es-CL" dirty="0"/>
            <a:t>Res 156 Compendio SUSESO</a:t>
          </a:r>
        </a:p>
      </dgm:t>
    </dgm:pt>
    <dgm:pt modelId="{BAC146CD-B2DD-4C17-9A3C-0044576048F6}" type="parTrans" cxnId="{DF1C3D79-8120-4AB0-8426-1ADD18010F71}">
      <dgm:prSet/>
      <dgm:spPr/>
      <dgm:t>
        <a:bodyPr/>
        <a:lstStyle/>
        <a:p>
          <a:endParaRPr lang="es-CL"/>
        </a:p>
      </dgm:t>
    </dgm:pt>
    <dgm:pt modelId="{9996B9DC-2F69-485F-B8DE-827CDC7701E1}" type="sibTrans" cxnId="{DF1C3D79-8120-4AB0-8426-1ADD18010F71}">
      <dgm:prSet/>
      <dgm:spPr/>
      <dgm:t>
        <a:bodyPr/>
        <a:lstStyle/>
        <a:p>
          <a:endParaRPr lang="es-CL"/>
        </a:p>
      </dgm:t>
    </dgm:pt>
    <dgm:pt modelId="{2BA78DB2-8DFB-4DA2-8873-36C9B49FD8F7}">
      <dgm:prSet phldrT="[Texto]"/>
      <dgm:spPr/>
      <dgm:t>
        <a:bodyPr/>
        <a:lstStyle/>
        <a:p>
          <a:r>
            <a:rPr lang="es-CL" dirty="0"/>
            <a:t>Jun 2018</a:t>
          </a:r>
        </a:p>
      </dgm:t>
    </dgm:pt>
    <dgm:pt modelId="{9C5E203F-879F-4D39-AB60-4961C2824091}" type="parTrans" cxnId="{510A8100-67FC-42F6-B9AA-C022B822EDAD}">
      <dgm:prSet/>
      <dgm:spPr/>
      <dgm:t>
        <a:bodyPr/>
        <a:lstStyle/>
        <a:p>
          <a:endParaRPr lang="es-CL"/>
        </a:p>
      </dgm:t>
    </dgm:pt>
    <dgm:pt modelId="{1F742D3C-9D2B-4581-B0C7-A31D8A0FBF96}" type="sibTrans" cxnId="{510A8100-67FC-42F6-B9AA-C022B822EDAD}">
      <dgm:prSet/>
      <dgm:spPr/>
      <dgm:t>
        <a:bodyPr/>
        <a:lstStyle/>
        <a:p>
          <a:endParaRPr lang="es-CL"/>
        </a:p>
      </dgm:t>
    </dgm:pt>
    <dgm:pt modelId="{6FBEED89-DD61-465D-B549-1D315F0B6E92}">
      <dgm:prSet/>
      <dgm:spPr/>
      <dgm:t>
        <a:bodyPr/>
        <a:lstStyle/>
        <a:p>
          <a:r>
            <a:rPr lang="es-CL" dirty="0"/>
            <a:t>Manual SUSESO ISTAS</a:t>
          </a:r>
        </a:p>
      </dgm:t>
    </dgm:pt>
    <dgm:pt modelId="{D8E8D536-65DE-4F4B-BB0F-CDA6181D67BC}" type="parTrans" cxnId="{4DFE7CA8-E917-419C-A1C2-4588F0BB2C18}">
      <dgm:prSet/>
      <dgm:spPr/>
      <dgm:t>
        <a:bodyPr/>
        <a:lstStyle/>
        <a:p>
          <a:endParaRPr lang="es-CL"/>
        </a:p>
      </dgm:t>
    </dgm:pt>
    <dgm:pt modelId="{BC957201-FC7A-4974-8C3E-C8F0A352BA62}" type="sibTrans" cxnId="{4DFE7CA8-E917-419C-A1C2-4588F0BB2C18}">
      <dgm:prSet/>
      <dgm:spPr/>
      <dgm:t>
        <a:bodyPr/>
        <a:lstStyle/>
        <a:p>
          <a:endParaRPr lang="es-CL"/>
        </a:p>
      </dgm:t>
    </dgm:pt>
    <dgm:pt modelId="{A5C142F1-565D-406A-9882-2F32F435DB94}" type="pres">
      <dgm:prSet presAssocID="{2D361DC0-BEA9-40CA-BDEF-7B10EF24FF0D}" presName="linearFlow" presStyleCnt="0">
        <dgm:presLayoutVars>
          <dgm:dir/>
          <dgm:animLvl val="lvl"/>
          <dgm:resizeHandles val="exact"/>
        </dgm:presLayoutVars>
      </dgm:prSet>
      <dgm:spPr/>
    </dgm:pt>
    <dgm:pt modelId="{8597453C-F07D-4CAA-A2B1-7D63F02DCB5A}" type="pres">
      <dgm:prSet presAssocID="{54E7FB69-85D8-42A5-A632-E9812B196787}" presName="composite" presStyleCnt="0"/>
      <dgm:spPr/>
    </dgm:pt>
    <dgm:pt modelId="{A24C7230-9EB1-4DE4-86AF-ACBAB47ADB69}" type="pres">
      <dgm:prSet presAssocID="{54E7FB69-85D8-42A5-A632-E9812B196787}" presName="parTx" presStyleLbl="node1" presStyleIdx="0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B148FE41-E664-4BD2-8D50-BB2BE527C3BB}" type="pres">
      <dgm:prSet presAssocID="{54E7FB69-85D8-42A5-A632-E9812B196787}" presName="parSh" presStyleLbl="node1" presStyleIdx="0" presStyleCnt="5"/>
      <dgm:spPr/>
      <dgm:t>
        <a:bodyPr/>
        <a:lstStyle/>
        <a:p>
          <a:endParaRPr lang="es-CL"/>
        </a:p>
      </dgm:t>
    </dgm:pt>
    <dgm:pt modelId="{63645840-29B6-424E-9FA2-BC2BA6C0DCEA}" type="pres">
      <dgm:prSet presAssocID="{54E7FB69-85D8-42A5-A632-E9812B196787}" presName="desTx" presStyleLbl="fgAcc1" presStyleIdx="0" presStyleCnt="5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17C12657-CEEE-4D20-912A-CD0D20FE3A84}" type="pres">
      <dgm:prSet presAssocID="{D8895823-0BF5-4E8A-8FCD-9C5A65CAC84D}" presName="sibTrans" presStyleLbl="sibTrans2D1" presStyleIdx="0" presStyleCnt="4"/>
      <dgm:spPr/>
      <dgm:t>
        <a:bodyPr/>
        <a:lstStyle/>
        <a:p>
          <a:endParaRPr lang="es-CL"/>
        </a:p>
      </dgm:t>
    </dgm:pt>
    <dgm:pt modelId="{6BBB0EEF-B7E5-484E-B855-552A7A4C3ABD}" type="pres">
      <dgm:prSet presAssocID="{D8895823-0BF5-4E8A-8FCD-9C5A65CAC84D}" presName="connTx" presStyleLbl="sibTrans2D1" presStyleIdx="0" presStyleCnt="4"/>
      <dgm:spPr/>
      <dgm:t>
        <a:bodyPr/>
        <a:lstStyle/>
        <a:p>
          <a:endParaRPr lang="es-CL"/>
        </a:p>
      </dgm:t>
    </dgm:pt>
    <dgm:pt modelId="{4196CADB-4734-4C01-93B5-B0A5766DBE2F}" type="pres">
      <dgm:prSet presAssocID="{B876459D-9330-4F6A-8C3A-E2DA5726F466}" presName="composite" presStyleCnt="0"/>
      <dgm:spPr/>
    </dgm:pt>
    <dgm:pt modelId="{8D8B68D7-3FF7-4BFF-AA94-9A5F755CE969}" type="pres">
      <dgm:prSet presAssocID="{B876459D-9330-4F6A-8C3A-E2DA5726F466}" presName="parTx" presStyleLbl="node1" presStyleIdx="0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E1086FA9-1F5A-4903-BDD1-3FFA49D0FB59}" type="pres">
      <dgm:prSet presAssocID="{B876459D-9330-4F6A-8C3A-E2DA5726F466}" presName="parSh" presStyleLbl="node1" presStyleIdx="1" presStyleCnt="5"/>
      <dgm:spPr/>
      <dgm:t>
        <a:bodyPr/>
        <a:lstStyle/>
        <a:p>
          <a:endParaRPr lang="es-CL"/>
        </a:p>
      </dgm:t>
    </dgm:pt>
    <dgm:pt modelId="{151C610D-0508-4B84-A42D-E3E6FF63E84D}" type="pres">
      <dgm:prSet presAssocID="{B876459D-9330-4F6A-8C3A-E2DA5726F466}" presName="desTx" presStyleLbl="fgAcc1" presStyleIdx="1" presStyleCnt="5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9F19F0AE-C23C-465F-A9AC-236120600796}" type="pres">
      <dgm:prSet presAssocID="{2EDF444C-1904-47F3-8763-7A4935CD2A37}" presName="sibTrans" presStyleLbl="sibTrans2D1" presStyleIdx="1" presStyleCnt="4"/>
      <dgm:spPr/>
      <dgm:t>
        <a:bodyPr/>
        <a:lstStyle/>
        <a:p>
          <a:endParaRPr lang="es-CL"/>
        </a:p>
      </dgm:t>
    </dgm:pt>
    <dgm:pt modelId="{54DE2C9A-5A54-478C-8704-146854707D08}" type="pres">
      <dgm:prSet presAssocID="{2EDF444C-1904-47F3-8763-7A4935CD2A37}" presName="connTx" presStyleLbl="sibTrans2D1" presStyleIdx="1" presStyleCnt="4"/>
      <dgm:spPr/>
      <dgm:t>
        <a:bodyPr/>
        <a:lstStyle/>
        <a:p>
          <a:endParaRPr lang="es-CL"/>
        </a:p>
      </dgm:t>
    </dgm:pt>
    <dgm:pt modelId="{F6F42834-4294-4502-9A76-D8B3F830C18E}" type="pres">
      <dgm:prSet presAssocID="{EB3CE6B5-06CE-4D9C-B199-F9AE675A5A14}" presName="composite" presStyleCnt="0"/>
      <dgm:spPr/>
    </dgm:pt>
    <dgm:pt modelId="{87D81C66-FEFF-483B-87F2-E8922605216F}" type="pres">
      <dgm:prSet presAssocID="{EB3CE6B5-06CE-4D9C-B199-F9AE675A5A14}" presName="parTx" presStyleLbl="node1" presStyleIdx="1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444A9240-D7D0-4CE8-861F-2D9D28CB0E17}" type="pres">
      <dgm:prSet presAssocID="{EB3CE6B5-06CE-4D9C-B199-F9AE675A5A14}" presName="parSh" presStyleLbl="node1" presStyleIdx="2" presStyleCnt="5"/>
      <dgm:spPr/>
      <dgm:t>
        <a:bodyPr/>
        <a:lstStyle/>
        <a:p>
          <a:endParaRPr lang="es-CL"/>
        </a:p>
      </dgm:t>
    </dgm:pt>
    <dgm:pt modelId="{DCF88956-1EC8-4C3C-921E-F2F3253ADCD9}" type="pres">
      <dgm:prSet presAssocID="{EB3CE6B5-06CE-4D9C-B199-F9AE675A5A14}" presName="desTx" presStyleLbl="fgAcc1" presStyleIdx="2" presStyleCnt="5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9BBDF41B-7FEC-4627-86A6-B67DFE4CBF7F}" type="pres">
      <dgm:prSet presAssocID="{070964B4-0F8C-4172-8F3D-E88412A6398A}" presName="sibTrans" presStyleLbl="sibTrans2D1" presStyleIdx="2" presStyleCnt="4"/>
      <dgm:spPr/>
      <dgm:t>
        <a:bodyPr/>
        <a:lstStyle/>
        <a:p>
          <a:endParaRPr lang="es-CL"/>
        </a:p>
      </dgm:t>
    </dgm:pt>
    <dgm:pt modelId="{034AC4CB-6E1B-4864-9541-7E4A23E7DFEA}" type="pres">
      <dgm:prSet presAssocID="{070964B4-0F8C-4172-8F3D-E88412A6398A}" presName="connTx" presStyleLbl="sibTrans2D1" presStyleIdx="2" presStyleCnt="4"/>
      <dgm:spPr/>
      <dgm:t>
        <a:bodyPr/>
        <a:lstStyle/>
        <a:p>
          <a:endParaRPr lang="es-CL"/>
        </a:p>
      </dgm:t>
    </dgm:pt>
    <dgm:pt modelId="{4A4D6C27-E680-4909-A485-31326345EF32}" type="pres">
      <dgm:prSet presAssocID="{4ACB078E-B4B7-49FB-AEA0-A27AC4EBBCB0}" presName="composite" presStyleCnt="0"/>
      <dgm:spPr/>
    </dgm:pt>
    <dgm:pt modelId="{9F826FAD-81C9-45B6-BDAF-6C8FBD5F3220}" type="pres">
      <dgm:prSet presAssocID="{4ACB078E-B4B7-49FB-AEA0-A27AC4EBBCB0}" presName="parTx" presStyleLbl="node1" presStyleIdx="2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601CEB5A-57D4-4A76-819D-1EC8B76CE3C6}" type="pres">
      <dgm:prSet presAssocID="{4ACB078E-B4B7-49FB-AEA0-A27AC4EBBCB0}" presName="parSh" presStyleLbl="node1" presStyleIdx="3" presStyleCnt="5"/>
      <dgm:spPr/>
      <dgm:t>
        <a:bodyPr/>
        <a:lstStyle/>
        <a:p>
          <a:endParaRPr lang="es-CL"/>
        </a:p>
      </dgm:t>
    </dgm:pt>
    <dgm:pt modelId="{EB55F51B-1084-40CE-AE06-FB21993815FF}" type="pres">
      <dgm:prSet presAssocID="{4ACB078E-B4B7-49FB-AEA0-A27AC4EBBCB0}" presName="desTx" presStyleLbl="fgAcc1" presStyleIdx="3" presStyleCnt="5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1B84DC86-3829-486D-9997-D40B4EC48768}" type="pres">
      <dgm:prSet presAssocID="{49285D3E-6038-400D-97E4-93300866F08D}" presName="sibTrans" presStyleLbl="sibTrans2D1" presStyleIdx="3" presStyleCnt="4"/>
      <dgm:spPr/>
      <dgm:t>
        <a:bodyPr/>
        <a:lstStyle/>
        <a:p>
          <a:endParaRPr lang="es-CL"/>
        </a:p>
      </dgm:t>
    </dgm:pt>
    <dgm:pt modelId="{BE1580D8-EDAE-48D9-BCA8-81EE50AC6B9E}" type="pres">
      <dgm:prSet presAssocID="{49285D3E-6038-400D-97E4-93300866F08D}" presName="connTx" presStyleLbl="sibTrans2D1" presStyleIdx="3" presStyleCnt="4"/>
      <dgm:spPr/>
      <dgm:t>
        <a:bodyPr/>
        <a:lstStyle/>
        <a:p>
          <a:endParaRPr lang="es-CL"/>
        </a:p>
      </dgm:t>
    </dgm:pt>
    <dgm:pt modelId="{58615F90-1065-44F7-BFF1-F3C355E8CCBC}" type="pres">
      <dgm:prSet presAssocID="{2BA78DB2-8DFB-4DA2-8873-36C9B49FD8F7}" presName="composite" presStyleCnt="0"/>
      <dgm:spPr/>
    </dgm:pt>
    <dgm:pt modelId="{392EC342-6986-4B14-B89C-DD16DD2AA3CE}" type="pres">
      <dgm:prSet presAssocID="{2BA78DB2-8DFB-4DA2-8873-36C9B49FD8F7}" presName="parTx" presStyleLbl="node1" presStyleIdx="3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C8C044C6-4709-4F86-91E2-52182E00C602}" type="pres">
      <dgm:prSet presAssocID="{2BA78DB2-8DFB-4DA2-8873-36C9B49FD8F7}" presName="parSh" presStyleLbl="node1" presStyleIdx="4" presStyleCnt="5"/>
      <dgm:spPr/>
      <dgm:t>
        <a:bodyPr/>
        <a:lstStyle/>
        <a:p>
          <a:endParaRPr lang="es-CL"/>
        </a:p>
      </dgm:t>
    </dgm:pt>
    <dgm:pt modelId="{BF75D57A-6758-4F30-A31D-4B20EC30116A}" type="pres">
      <dgm:prSet presAssocID="{2BA78DB2-8DFB-4DA2-8873-36C9B49FD8F7}" presName="desTx" presStyleLbl="fgAcc1" presStyleIdx="4" presStyleCnt="5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</dgm:ptLst>
  <dgm:cxnLst>
    <dgm:cxn modelId="{DF1C3D79-8120-4AB0-8426-1ADD18010F71}" srcId="{4ACB078E-B4B7-49FB-AEA0-A27AC4EBBCB0}" destId="{44AA4159-1BBA-4BA0-B277-55DC8C0F5B22}" srcOrd="0" destOrd="0" parTransId="{BAC146CD-B2DD-4C17-9A3C-0044576048F6}" sibTransId="{9996B9DC-2F69-485F-B8DE-827CDC7701E1}"/>
    <dgm:cxn modelId="{D836B386-C49C-4BF7-9908-AFF1DEBC0D35}" type="presOf" srcId="{2D361DC0-BEA9-40CA-BDEF-7B10EF24FF0D}" destId="{A5C142F1-565D-406A-9882-2F32F435DB94}" srcOrd="0" destOrd="0" presId="urn:microsoft.com/office/officeart/2005/8/layout/process3"/>
    <dgm:cxn modelId="{4DFE7CA8-E917-419C-A1C2-4588F0BB2C18}" srcId="{2BA78DB2-8DFB-4DA2-8873-36C9B49FD8F7}" destId="{6FBEED89-DD61-465D-B549-1D315F0B6E92}" srcOrd="0" destOrd="0" parTransId="{D8E8D536-65DE-4F4B-BB0F-CDA6181D67BC}" sibTransId="{BC957201-FC7A-4974-8C3E-C8F0A352BA62}"/>
    <dgm:cxn modelId="{6E51CF24-A28A-4154-B067-10C968A2DF77}" type="presOf" srcId="{4ACB078E-B4B7-49FB-AEA0-A27AC4EBBCB0}" destId="{9F826FAD-81C9-45B6-BDAF-6C8FBD5F3220}" srcOrd="0" destOrd="0" presId="urn:microsoft.com/office/officeart/2005/8/layout/process3"/>
    <dgm:cxn modelId="{FEF4B0C7-C8E6-4EC8-88C7-666AD050FA22}" type="presOf" srcId="{D8895823-0BF5-4E8A-8FCD-9C5A65CAC84D}" destId="{17C12657-CEEE-4D20-912A-CD0D20FE3A84}" srcOrd="0" destOrd="0" presId="urn:microsoft.com/office/officeart/2005/8/layout/process3"/>
    <dgm:cxn modelId="{D038D808-5E0A-40EE-B287-39D5F981F42D}" srcId="{2D361DC0-BEA9-40CA-BDEF-7B10EF24FF0D}" destId="{54E7FB69-85D8-42A5-A632-E9812B196787}" srcOrd="0" destOrd="0" parTransId="{BD778FE8-8374-4041-ABF7-57791D408942}" sibTransId="{D8895823-0BF5-4E8A-8FCD-9C5A65CAC84D}"/>
    <dgm:cxn modelId="{1637C9E5-5DD5-43E1-883A-A92B81687681}" type="presOf" srcId="{2EDF444C-1904-47F3-8763-7A4935CD2A37}" destId="{9F19F0AE-C23C-465F-A9AC-236120600796}" srcOrd="0" destOrd="0" presId="urn:microsoft.com/office/officeart/2005/8/layout/process3"/>
    <dgm:cxn modelId="{CB78F30D-1AA8-4119-A9ED-6CE0390D99AC}" type="presOf" srcId="{605E79FD-14A6-405A-9393-32E1E09CD14A}" destId="{63645840-29B6-424E-9FA2-BC2BA6C0DCEA}" srcOrd="0" destOrd="0" presId="urn:microsoft.com/office/officeart/2005/8/layout/process3"/>
    <dgm:cxn modelId="{205E288A-84D4-44CE-B030-88C581B9EB24}" srcId="{2D361DC0-BEA9-40CA-BDEF-7B10EF24FF0D}" destId="{EB3CE6B5-06CE-4D9C-B199-F9AE675A5A14}" srcOrd="2" destOrd="0" parTransId="{BC68AF57-C1F1-421E-A8BB-2BB7A762E165}" sibTransId="{070964B4-0F8C-4172-8F3D-E88412A6398A}"/>
    <dgm:cxn modelId="{26190D1C-74AF-4C3D-A028-8A0D18C7657E}" type="presOf" srcId="{49285D3E-6038-400D-97E4-93300866F08D}" destId="{BE1580D8-EDAE-48D9-BCA8-81EE50AC6B9E}" srcOrd="1" destOrd="0" presId="urn:microsoft.com/office/officeart/2005/8/layout/process3"/>
    <dgm:cxn modelId="{98B0664B-6F27-421F-B577-611FEA52FE9F}" srcId="{EB3CE6B5-06CE-4D9C-B199-F9AE675A5A14}" destId="{9DEDAEBE-0A29-403B-8913-D8112CF52F0F}" srcOrd="0" destOrd="0" parTransId="{2B6BE12A-7DF2-4022-B0FE-98F63690A87F}" sibTransId="{8118B28E-E732-44CA-948A-BAF070F3A503}"/>
    <dgm:cxn modelId="{4051C2A0-15E2-4D94-A841-07834B532256}" type="presOf" srcId="{49285D3E-6038-400D-97E4-93300866F08D}" destId="{1B84DC86-3829-486D-9997-D40B4EC48768}" srcOrd="0" destOrd="0" presId="urn:microsoft.com/office/officeart/2005/8/layout/process3"/>
    <dgm:cxn modelId="{58E67D52-62F6-40F9-AA28-F7D2ECC2E973}" type="presOf" srcId="{D8895823-0BF5-4E8A-8FCD-9C5A65CAC84D}" destId="{6BBB0EEF-B7E5-484E-B855-552A7A4C3ABD}" srcOrd="1" destOrd="0" presId="urn:microsoft.com/office/officeart/2005/8/layout/process3"/>
    <dgm:cxn modelId="{44C7F0E1-1EBC-4B1B-9172-A0EC2C5D0F21}" type="presOf" srcId="{EB3CE6B5-06CE-4D9C-B199-F9AE675A5A14}" destId="{87D81C66-FEFF-483B-87F2-E8922605216F}" srcOrd="0" destOrd="0" presId="urn:microsoft.com/office/officeart/2005/8/layout/process3"/>
    <dgm:cxn modelId="{97F8982D-2419-4E3E-A658-07117D9CECDD}" type="presOf" srcId="{54E7FB69-85D8-42A5-A632-E9812B196787}" destId="{B148FE41-E664-4BD2-8D50-BB2BE527C3BB}" srcOrd="1" destOrd="0" presId="urn:microsoft.com/office/officeart/2005/8/layout/process3"/>
    <dgm:cxn modelId="{F63FC8C7-39AF-44F1-843D-8FE8EC526333}" type="presOf" srcId="{44AA4159-1BBA-4BA0-B277-55DC8C0F5B22}" destId="{EB55F51B-1084-40CE-AE06-FB21993815FF}" srcOrd="0" destOrd="0" presId="urn:microsoft.com/office/officeart/2005/8/layout/process3"/>
    <dgm:cxn modelId="{46378E4E-EA27-423A-B696-AD2BEE0A71B8}" srcId="{2D361DC0-BEA9-40CA-BDEF-7B10EF24FF0D}" destId="{B876459D-9330-4F6A-8C3A-E2DA5726F466}" srcOrd="1" destOrd="0" parTransId="{846ADDA5-EA84-409A-B950-D9462D6CB80A}" sibTransId="{2EDF444C-1904-47F3-8763-7A4935CD2A37}"/>
    <dgm:cxn modelId="{8AFC623F-B57C-4E31-9EEF-7DB7F54B380B}" type="presOf" srcId="{2BA78DB2-8DFB-4DA2-8873-36C9B49FD8F7}" destId="{392EC342-6986-4B14-B89C-DD16DD2AA3CE}" srcOrd="0" destOrd="0" presId="urn:microsoft.com/office/officeart/2005/8/layout/process3"/>
    <dgm:cxn modelId="{5726792F-1EF2-4E73-8DAC-618DFF070257}" srcId="{54E7FB69-85D8-42A5-A632-E9812B196787}" destId="{605E79FD-14A6-405A-9393-32E1E09CD14A}" srcOrd="0" destOrd="0" parTransId="{64AAA421-9267-4026-A728-B3D141372B97}" sibTransId="{E08B0C7D-399D-4431-BFCB-A979CE4283D2}"/>
    <dgm:cxn modelId="{C49B05D3-06B7-4B4F-BFD0-381899B3FA94}" type="presOf" srcId="{AAE1F1A1-813F-4243-81F7-BB8A0D138883}" destId="{151C610D-0508-4B84-A42D-E3E6FF63E84D}" srcOrd="0" destOrd="0" presId="urn:microsoft.com/office/officeart/2005/8/layout/process3"/>
    <dgm:cxn modelId="{15CD1BB4-D7C9-47A1-B4C7-C40CB8C5AD4C}" type="presOf" srcId="{2BA78DB2-8DFB-4DA2-8873-36C9B49FD8F7}" destId="{C8C044C6-4709-4F86-91E2-52182E00C602}" srcOrd="1" destOrd="0" presId="urn:microsoft.com/office/officeart/2005/8/layout/process3"/>
    <dgm:cxn modelId="{510A8100-67FC-42F6-B9AA-C022B822EDAD}" srcId="{2D361DC0-BEA9-40CA-BDEF-7B10EF24FF0D}" destId="{2BA78DB2-8DFB-4DA2-8873-36C9B49FD8F7}" srcOrd="4" destOrd="0" parTransId="{9C5E203F-879F-4D39-AB60-4961C2824091}" sibTransId="{1F742D3C-9D2B-4581-B0C7-A31D8A0FBF96}"/>
    <dgm:cxn modelId="{B98E9827-573C-43FE-9721-39395DB8F168}" type="presOf" srcId="{2EDF444C-1904-47F3-8763-7A4935CD2A37}" destId="{54DE2C9A-5A54-478C-8704-146854707D08}" srcOrd="1" destOrd="0" presId="urn:microsoft.com/office/officeart/2005/8/layout/process3"/>
    <dgm:cxn modelId="{1C9D46C9-6692-444F-9730-B97DC4863155}" type="presOf" srcId="{6FBEED89-DD61-465D-B549-1D315F0B6E92}" destId="{BF75D57A-6758-4F30-A31D-4B20EC30116A}" srcOrd="0" destOrd="0" presId="urn:microsoft.com/office/officeart/2005/8/layout/process3"/>
    <dgm:cxn modelId="{CDFD8E72-7C57-4C77-ABF4-CFD8DD15820B}" srcId="{2D361DC0-BEA9-40CA-BDEF-7B10EF24FF0D}" destId="{4ACB078E-B4B7-49FB-AEA0-A27AC4EBBCB0}" srcOrd="3" destOrd="0" parTransId="{C193A929-A0C8-4A1C-A1AB-E28FFF465806}" sibTransId="{49285D3E-6038-400D-97E4-93300866F08D}"/>
    <dgm:cxn modelId="{CDB60413-4936-428D-ABB9-9F63BFEFC1AC}" srcId="{B876459D-9330-4F6A-8C3A-E2DA5726F466}" destId="{AAE1F1A1-813F-4243-81F7-BB8A0D138883}" srcOrd="0" destOrd="0" parTransId="{CA3B627D-63C9-4BE2-875F-2D0D62C2B97A}" sibTransId="{3020E995-E08D-4181-BA2D-7A596F9364B2}"/>
    <dgm:cxn modelId="{4184E2EC-CA1B-4675-9447-3E6357FDFEAF}" type="presOf" srcId="{9DEDAEBE-0A29-403B-8913-D8112CF52F0F}" destId="{DCF88956-1EC8-4C3C-921E-F2F3253ADCD9}" srcOrd="0" destOrd="0" presId="urn:microsoft.com/office/officeart/2005/8/layout/process3"/>
    <dgm:cxn modelId="{417E1227-850C-4EE0-AD5F-3C0FC0665727}" type="presOf" srcId="{4ACB078E-B4B7-49FB-AEA0-A27AC4EBBCB0}" destId="{601CEB5A-57D4-4A76-819D-1EC8B76CE3C6}" srcOrd="1" destOrd="0" presId="urn:microsoft.com/office/officeart/2005/8/layout/process3"/>
    <dgm:cxn modelId="{143BA6B2-5837-4890-99A6-A57029D2C0A7}" type="presOf" srcId="{070964B4-0F8C-4172-8F3D-E88412A6398A}" destId="{034AC4CB-6E1B-4864-9541-7E4A23E7DFEA}" srcOrd="1" destOrd="0" presId="urn:microsoft.com/office/officeart/2005/8/layout/process3"/>
    <dgm:cxn modelId="{F0D3FF6B-0F64-46AC-AEDB-988F4D80C726}" type="presOf" srcId="{B876459D-9330-4F6A-8C3A-E2DA5726F466}" destId="{E1086FA9-1F5A-4903-BDD1-3FFA49D0FB59}" srcOrd="1" destOrd="0" presId="urn:microsoft.com/office/officeart/2005/8/layout/process3"/>
    <dgm:cxn modelId="{E0394F32-85BE-4169-B7F2-154C1255D39D}" type="presOf" srcId="{54E7FB69-85D8-42A5-A632-E9812B196787}" destId="{A24C7230-9EB1-4DE4-86AF-ACBAB47ADB69}" srcOrd="0" destOrd="0" presId="urn:microsoft.com/office/officeart/2005/8/layout/process3"/>
    <dgm:cxn modelId="{46A2485D-840F-48B8-A369-4BCE167D8FE1}" type="presOf" srcId="{B876459D-9330-4F6A-8C3A-E2DA5726F466}" destId="{8D8B68D7-3FF7-4BFF-AA94-9A5F755CE969}" srcOrd="0" destOrd="0" presId="urn:microsoft.com/office/officeart/2005/8/layout/process3"/>
    <dgm:cxn modelId="{CF30201F-453F-429D-A6C2-2C0A3C09B894}" type="presOf" srcId="{EB3CE6B5-06CE-4D9C-B199-F9AE675A5A14}" destId="{444A9240-D7D0-4CE8-861F-2D9D28CB0E17}" srcOrd="1" destOrd="0" presId="urn:microsoft.com/office/officeart/2005/8/layout/process3"/>
    <dgm:cxn modelId="{DC431224-A809-438A-8A29-032CE0AA7EC8}" type="presOf" srcId="{070964B4-0F8C-4172-8F3D-E88412A6398A}" destId="{9BBDF41B-7FEC-4627-86A6-B67DFE4CBF7F}" srcOrd="0" destOrd="0" presId="urn:microsoft.com/office/officeart/2005/8/layout/process3"/>
    <dgm:cxn modelId="{90A50E14-9FD8-441A-8330-53D484740AE5}" type="presParOf" srcId="{A5C142F1-565D-406A-9882-2F32F435DB94}" destId="{8597453C-F07D-4CAA-A2B1-7D63F02DCB5A}" srcOrd="0" destOrd="0" presId="urn:microsoft.com/office/officeart/2005/8/layout/process3"/>
    <dgm:cxn modelId="{EB78CDA6-597C-42F4-BE9B-FF95CE2D9977}" type="presParOf" srcId="{8597453C-F07D-4CAA-A2B1-7D63F02DCB5A}" destId="{A24C7230-9EB1-4DE4-86AF-ACBAB47ADB69}" srcOrd="0" destOrd="0" presId="urn:microsoft.com/office/officeart/2005/8/layout/process3"/>
    <dgm:cxn modelId="{6571377D-6010-429C-9D7C-B305BBE98EF8}" type="presParOf" srcId="{8597453C-F07D-4CAA-A2B1-7D63F02DCB5A}" destId="{B148FE41-E664-4BD2-8D50-BB2BE527C3BB}" srcOrd="1" destOrd="0" presId="urn:microsoft.com/office/officeart/2005/8/layout/process3"/>
    <dgm:cxn modelId="{A2D81BAF-99CA-40A9-A018-C85AA863175C}" type="presParOf" srcId="{8597453C-F07D-4CAA-A2B1-7D63F02DCB5A}" destId="{63645840-29B6-424E-9FA2-BC2BA6C0DCEA}" srcOrd="2" destOrd="0" presId="urn:microsoft.com/office/officeart/2005/8/layout/process3"/>
    <dgm:cxn modelId="{B1A70709-09E3-4FE2-BDF6-0665045CD6D9}" type="presParOf" srcId="{A5C142F1-565D-406A-9882-2F32F435DB94}" destId="{17C12657-CEEE-4D20-912A-CD0D20FE3A84}" srcOrd="1" destOrd="0" presId="urn:microsoft.com/office/officeart/2005/8/layout/process3"/>
    <dgm:cxn modelId="{8310FAB0-61F8-45B2-BF8D-EBD9FF6DE5DF}" type="presParOf" srcId="{17C12657-CEEE-4D20-912A-CD0D20FE3A84}" destId="{6BBB0EEF-B7E5-484E-B855-552A7A4C3ABD}" srcOrd="0" destOrd="0" presId="urn:microsoft.com/office/officeart/2005/8/layout/process3"/>
    <dgm:cxn modelId="{9F92B197-68F5-4C06-A14B-3880C17E86DA}" type="presParOf" srcId="{A5C142F1-565D-406A-9882-2F32F435DB94}" destId="{4196CADB-4734-4C01-93B5-B0A5766DBE2F}" srcOrd="2" destOrd="0" presId="urn:microsoft.com/office/officeart/2005/8/layout/process3"/>
    <dgm:cxn modelId="{0F6F138F-6685-48AC-B76A-2FD1527A4DA6}" type="presParOf" srcId="{4196CADB-4734-4C01-93B5-B0A5766DBE2F}" destId="{8D8B68D7-3FF7-4BFF-AA94-9A5F755CE969}" srcOrd="0" destOrd="0" presId="urn:microsoft.com/office/officeart/2005/8/layout/process3"/>
    <dgm:cxn modelId="{8C776B00-465C-4FBB-9202-7F97FCA5BFA7}" type="presParOf" srcId="{4196CADB-4734-4C01-93B5-B0A5766DBE2F}" destId="{E1086FA9-1F5A-4903-BDD1-3FFA49D0FB59}" srcOrd="1" destOrd="0" presId="urn:microsoft.com/office/officeart/2005/8/layout/process3"/>
    <dgm:cxn modelId="{1C6D1E94-6F84-46AD-B0F7-AFB2FB722B98}" type="presParOf" srcId="{4196CADB-4734-4C01-93B5-B0A5766DBE2F}" destId="{151C610D-0508-4B84-A42D-E3E6FF63E84D}" srcOrd="2" destOrd="0" presId="urn:microsoft.com/office/officeart/2005/8/layout/process3"/>
    <dgm:cxn modelId="{E02D2355-6E12-4FFF-9EB2-A68A25EFC930}" type="presParOf" srcId="{A5C142F1-565D-406A-9882-2F32F435DB94}" destId="{9F19F0AE-C23C-465F-A9AC-236120600796}" srcOrd="3" destOrd="0" presId="urn:microsoft.com/office/officeart/2005/8/layout/process3"/>
    <dgm:cxn modelId="{0AEC4469-CE63-469A-B287-7BF8FF657CF4}" type="presParOf" srcId="{9F19F0AE-C23C-465F-A9AC-236120600796}" destId="{54DE2C9A-5A54-478C-8704-146854707D08}" srcOrd="0" destOrd="0" presId="urn:microsoft.com/office/officeart/2005/8/layout/process3"/>
    <dgm:cxn modelId="{FB20ED93-0B5E-4E50-A502-D7B809386266}" type="presParOf" srcId="{A5C142F1-565D-406A-9882-2F32F435DB94}" destId="{F6F42834-4294-4502-9A76-D8B3F830C18E}" srcOrd="4" destOrd="0" presId="urn:microsoft.com/office/officeart/2005/8/layout/process3"/>
    <dgm:cxn modelId="{462B9C4D-A3E6-4768-A6E7-057F09483D7E}" type="presParOf" srcId="{F6F42834-4294-4502-9A76-D8B3F830C18E}" destId="{87D81C66-FEFF-483B-87F2-E8922605216F}" srcOrd="0" destOrd="0" presId="urn:microsoft.com/office/officeart/2005/8/layout/process3"/>
    <dgm:cxn modelId="{C35A9ABE-DC50-4CE5-B471-EFEFF0E755B1}" type="presParOf" srcId="{F6F42834-4294-4502-9A76-D8B3F830C18E}" destId="{444A9240-D7D0-4CE8-861F-2D9D28CB0E17}" srcOrd="1" destOrd="0" presId="urn:microsoft.com/office/officeart/2005/8/layout/process3"/>
    <dgm:cxn modelId="{07CCC7F5-CB31-44B7-A60D-C0E29F9061B4}" type="presParOf" srcId="{F6F42834-4294-4502-9A76-D8B3F830C18E}" destId="{DCF88956-1EC8-4C3C-921E-F2F3253ADCD9}" srcOrd="2" destOrd="0" presId="urn:microsoft.com/office/officeart/2005/8/layout/process3"/>
    <dgm:cxn modelId="{4015F8B0-31E0-470E-9B26-A59FA79B8BDC}" type="presParOf" srcId="{A5C142F1-565D-406A-9882-2F32F435DB94}" destId="{9BBDF41B-7FEC-4627-86A6-B67DFE4CBF7F}" srcOrd="5" destOrd="0" presId="urn:microsoft.com/office/officeart/2005/8/layout/process3"/>
    <dgm:cxn modelId="{F4FF89DA-1612-4787-8089-2075E07F680F}" type="presParOf" srcId="{9BBDF41B-7FEC-4627-86A6-B67DFE4CBF7F}" destId="{034AC4CB-6E1B-4864-9541-7E4A23E7DFEA}" srcOrd="0" destOrd="0" presId="urn:microsoft.com/office/officeart/2005/8/layout/process3"/>
    <dgm:cxn modelId="{B73173BA-D3C7-4F8D-8EFF-BC2447ADCA3C}" type="presParOf" srcId="{A5C142F1-565D-406A-9882-2F32F435DB94}" destId="{4A4D6C27-E680-4909-A485-31326345EF32}" srcOrd="6" destOrd="0" presId="urn:microsoft.com/office/officeart/2005/8/layout/process3"/>
    <dgm:cxn modelId="{9B957EF1-FA68-4E81-927A-BE1A7359CCBE}" type="presParOf" srcId="{4A4D6C27-E680-4909-A485-31326345EF32}" destId="{9F826FAD-81C9-45B6-BDAF-6C8FBD5F3220}" srcOrd="0" destOrd="0" presId="urn:microsoft.com/office/officeart/2005/8/layout/process3"/>
    <dgm:cxn modelId="{83FBBBA3-E594-446F-BDCC-57EA22E3F24E}" type="presParOf" srcId="{4A4D6C27-E680-4909-A485-31326345EF32}" destId="{601CEB5A-57D4-4A76-819D-1EC8B76CE3C6}" srcOrd="1" destOrd="0" presId="urn:microsoft.com/office/officeart/2005/8/layout/process3"/>
    <dgm:cxn modelId="{4B9557AB-AB05-456B-8851-B6E88518F70A}" type="presParOf" srcId="{4A4D6C27-E680-4909-A485-31326345EF32}" destId="{EB55F51B-1084-40CE-AE06-FB21993815FF}" srcOrd="2" destOrd="0" presId="urn:microsoft.com/office/officeart/2005/8/layout/process3"/>
    <dgm:cxn modelId="{768778D3-9318-4E96-97C3-FACF2CEE16B1}" type="presParOf" srcId="{A5C142F1-565D-406A-9882-2F32F435DB94}" destId="{1B84DC86-3829-486D-9997-D40B4EC48768}" srcOrd="7" destOrd="0" presId="urn:microsoft.com/office/officeart/2005/8/layout/process3"/>
    <dgm:cxn modelId="{52FF8615-F58D-4FE3-A8E4-9F9F47215DE6}" type="presParOf" srcId="{1B84DC86-3829-486D-9997-D40B4EC48768}" destId="{BE1580D8-EDAE-48D9-BCA8-81EE50AC6B9E}" srcOrd="0" destOrd="0" presId="urn:microsoft.com/office/officeart/2005/8/layout/process3"/>
    <dgm:cxn modelId="{432351A0-ED60-48F5-A550-9E7240A55635}" type="presParOf" srcId="{A5C142F1-565D-406A-9882-2F32F435DB94}" destId="{58615F90-1065-44F7-BFF1-F3C355E8CCBC}" srcOrd="8" destOrd="0" presId="urn:microsoft.com/office/officeart/2005/8/layout/process3"/>
    <dgm:cxn modelId="{6EA0E032-AF83-43E9-BFD2-56C3BE9E4C4F}" type="presParOf" srcId="{58615F90-1065-44F7-BFF1-F3C355E8CCBC}" destId="{392EC342-6986-4B14-B89C-DD16DD2AA3CE}" srcOrd="0" destOrd="0" presId="urn:microsoft.com/office/officeart/2005/8/layout/process3"/>
    <dgm:cxn modelId="{9570A8AB-9B0C-4F10-96CD-C218107F514D}" type="presParOf" srcId="{58615F90-1065-44F7-BFF1-F3C355E8CCBC}" destId="{C8C044C6-4709-4F86-91E2-52182E00C602}" srcOrd="1" destOrd="0" presId="urn:microsoft.com/office/officeart/2005/8/layout/process3"/>
    <dgm:cxn modelId="{69DD1467-3B3A-4C33-AFCC-BC9683ADB2D9}" type="presParOf" srcId="{58615F90-1065-44F7-BFF1-F3C355E8CCBC}" destId="{BF75D57A-6758-4F30-A31D-4B20EC30116A}" srcOrd="2" destOrd="0" presId="urn:microsoft.com/office/officeart/2005/8/layout/process3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D361DC0-BEA9-40CA-BDEF-7B10EF24FF0D}" type="doc">
      <dgm:prSet loTypeId="urn:microsoft.com/office/officeart/2005/8/layout/process3" loCatId="process" qsTypeId="urn:microsoft.com/office/officeart/2005/8/quickstyle/simple1" qsCatId="simple" csTypeId="urn:microsoft.com/office/officeart/2005/8/colors/accent1_2" csCatId="accent1" phldr="1"/>
      <dgm:spPr/>
    </dgm:pt>
    <dgm:pt modelId="{B876459D-9330-4F6A-8C3A-E2DA5726F466}">
      <dgm:prSet phldrT="[Texto]"/>
      <dgm:spPr/>
      <dgm:t>
        <a:bodyPr/>
        <a:lstStyle/>
        <a:p>
          <a:r>
            <a:rPr lang="es-CL" dirty="0"/>
            <a:t>Jun 2018</a:t>
          </a:r>
        </a:p>
      </dgm:t>
    </dgm:pt>
    <dgm:pt modelId="{846ADDA5-EA84-409A-B950-D9462D6CB80A}" type="parTrans" cxnId="{46378E4E-EA27-423A-B696-AD2BEE0A71B8}">
      <dgm:prSet/>
      <dgm:spPr/>
      <dgm:t>
        <a:bodyPr/>
        <a:lstStyle/>
        <a:p>
          <a:endParaRPr lang="es-CL"/>
        </a:p>
      </dgm:t>
    </dgm:pt>
    <dgm:pt modelId="{2EDF444C-1904-47F3-8763-7A4935CD2A37}" type="sibTrans" cxnId="{46378E4E-EA27-423A-B696-AD2BEE0A71B8}">
      <dgm:prSet/>
      <dgm:spPr/>
      <dgm:t>
        <a:bodyPr/>
        <a:lstStyle/>
        <a:p>
          <a:endParaRPr lang="es-CL"/>
        </a:p>
      </dgm:t>
    </dgm:pt>
    <dgm:pt modelId="{AAE1F1A1-813F-4243-81F7-BB8A0D138883}">
      <dgm:prSet phldrT="[Texto]"/>
      <dgm:spPr/>
      <dgm:t>
        <a:bodyPr/>
        <a:lstStyle/>
        <a:p>
          <a:r>
            <a:rPr lang="es-CL" dirty="0"/>
            <a:t>Circular 3366 Acerca del cuestionario SUSESO/ISTAS21</a:t>
          </a:r>
        </a:p>
      </dgm:t>
    </dgm:pt>
    <dgm:pt modelId="{CA3B627D-63C9-4BE2-875F-2D0D62C2B97A}" type="parTrans" cxnId="{CDB60413-4936-428D-ABB9-9F63BFEFC1AC}">
      <dgm:prSet/>
      <dgm:spPr/>
      <dgm:t>
        <a:bodyPr/>
        <a:lstStyle/>
        <a:p>
          <a:endParaRPr lang="es-CL"/>
        </a:p>
      </dgm:t>
    </dgm:pt>
    <dgm:pt modelId="{3020E995-E08D-4181-BA2D-7A596F9364B2}" type="sibTrans" cxnId="{CDB60413-4936-428D-ABB9-9F63BFEFC1AC}">
      <dgm:prSet/>
      <dgm:spPr/>
      <dgm:t>
        <a:bodyPr/>
        <a:lstStyle/>
        <a:p>
          <a:endParaRPr lang="es-CL"/>
        </a:p>
      </dgm:t>
    </dgm:pt>
    <dgm:pt modelId="{EB3CE6B5-06CE-4D9C-B199-F9AE675A5A14}">
      <dgm:prSet phldrT="[Texto]"/>
      <dgm:spPr/>
      <dgm:t>
        <a:bodyPr/>
        <a:lstStyle/>
        <a:p>
          <a:r>
            <a:rPr lang="es-CL" dirty="0"/>
            <a:t>Julio 2019</a:t>
          </a:r>
        </a:p>
      </dgm:t>
    </dgm:pt>
    <dgm:pt modelId="{BC68AF57-C1F1-421E-A8BB-2BB7A762E165}" type="parTrans" cxnId="{205E288A-84D4-44CE-B030-88C581B9EB24}">
      <dgm:prSet/>
      <dgm:spPr/>
      <dgm:t>
        <a:bodyPr/>
        <a:lstStyle/>
        <a:p>
          <a:endParaRPr lang="es-CL"/>
        </a:p>
      </dgm:t>
    </dgm:pt>
    <dgm:pt modelId="{070964B4-0F8C-4172-8F3D-E88412A6398A}" type="sibTrans" cxnId="{205E288A-84D4-44CE-B030-88C581B9EB24}">
      <dgm:prSet/>
      <dgm:spPr/>
      <dgm:t>
        <a:bodyPr/>
        <a:lstStyle/>
        <a:p>
          <a:endParaRPr lang="es-CL"/>
        </a:p>
      </dgm:t>
    </dgm:pt>
    <dgm:pt modelId="{9DEDAEBE-0A29-403B-8913-D8112CF52F0F}">
      <dgm:prSet phldrT="[Texto]"/>
      <dgm:spPr/>
      <dgm:t>
        <a:bodyPr/>
        <a:lstStyle/>
        <a:p>
          <a:r>
            <a:rPr lang="es-ES" dirty="0"/>
            <a:t>Circular 3431 Modifica Evaluaciones de Puesto de Trabajo </a:t>
          </a:r>
          <a:r>
            <a:rPr lang="es-ES"/>
            <a:t>salud mental</a:t>
          </a:r>
          <a:endParaRPr lang="es-CL" dirty="0"/>
        </a:p>
      </dgm:t>
    </dgm:pt>
    <dgm:pt modelId="{2B6BE12A-7DF2-4022-B0FE-98F63690A87F}" type="parTrans" cxnId="{98B0664B-6F27-421F-B577-611FEA52FE9F}">
      <dgm:prSet/>
      <dgm:spPr/>
      <dgm:t>
        <a:bodyPr/>
        <a:lstStyle/>
        <a:p>
          <a:endParaRPr lang="es-CL"/>
        </a:p>
      </dgm:t>
    </dgm:pt>
    <dgm:pt modelId="{8118B28E-E732-44CA-948A-BAF070F3A503}" type="sibTrans" cxnId="{98B0664B-6F27-421F-B577-611FEA52FE9F}">
      <dgm:prSet/>
      <dgm:spPr/>
      <dgm:t>
        <a:bodyPr/>
        <a:lstStyle/>
        <a:p>
          <a:endParaRPr lang="es-CL"/>
        </a:p>
      </dgm:t>
    </dgm:pt>
    <dgm:pt modelId="{44AA4159-1BBA-4BA0-B277-55DC8C0F5B22}">
      <dgm:prSet phldrT="[Texto]"/>
      <dgm:spPr/>
      <dgm:t>
        <a:bodyPr/>
        <a:lstStyle/>
        <a:p>
          <a:r>
            <a:rPr lang="es-CL" dirty="0"/>
            <a:t>Circular 3442 Modifica uso cuestionario SUSESO ISTAS</a:t>
          </a:r>
        </a:p>
      </dgm:t>
    </dgm:pt>
    <dgm:pt modelId="{BAC146CD-B2DD-4C17-9A3C-0044576048F6}" type="parTrans" cxnId="{DF1C3D79-8120-4AB0-8426-1ADD18010F71}">
      <dgm:prSet/>
      <dgm:spPr/>
      <dgm:t>
        <a:bodyPr/>
        <a:lstStyle/>
        <a:p>
          <a:endParaRPr lang="es-CL"/>
        </a:p>
      </dgm:t>
    </dgm:pt>
    <dgm:pt modelId="{9996B9DC-2F69-485F-B8DE-827CDC7701E1}" type="sibTrans" cxnId="{DF1C3D79-8120-4AB0-8426-1ADD18010F71}">
      <dgm:prSet/>
      <dgm:spPr/>
      <dgm:t>
        <a:bodyPr/>
        <a:lstStyle/>
        <a:p>
          <a:endParaRPr lang="es-CL"/>
        </a:p>
      </dgm:t>
    </dgm:pt>
    <dgm:pt modelId="{1C62EF5D-EBAE-474D-AB7F-2F462ABAEF36}">
      <dgm:prSet phldrT="[Texto]"/>
      <dgm:spPr/>
      <dgm:t>
        <a:bodyPr/>
        <a:lstStyle/>
        <a:p>
          <a:r>
            <a:rPr lang="es-ES" dirty="0"/>
            <a:t>Oct 2019</a:t>
          </a:r>
          <a:endParaRPr lang="es-CL" dirty="0"/>
        </a:p>
      </dgm:t>
    </dgm:pt>
    <dgm:pt modelId="{9431017D-A383-4F80-B3B8-7D0644EEA409}" type="parTrans" cxnId="{3708F1E4-1BFC-4785-AFC8-A1850329610E}">
      <dgm:prSet/>
      <dgm:spPr/>
      <dgm:t>
        <a:bodyPr/>
        <a:lstStyle/>
        <a:p>
          <a:endParaRPr lang="es-CL"/>
        </a:p>
      </dgm:t>
    </dgm:pt>
    <dgm:pt modelId="{E3400F6C-3F48-4836-A075-EB6CC6B3BC27}" type="sibTrans" cxnId="{3708F1E4-1BFC-4785-AFC8-A1850329610E}">
      <dgm:prSet/>
      <dgm:spPr/>
      <dgm:t>
        <a:bodyPr/>
        <a:lstStyle/>
        <a:p>
          <a:endParaRPr lang="es-CL"/>
        </a:p>
      </dgm:t>
    </dgm:pt>
    <dgm:pt modelId="{92A1EB1F-630A-4EB4-A967-5AB886FA644B}">
      <dgm:prSet phldrT="[Texto]"/>
      <dgm:spPr/>
      <dgm:t>
        <a:bodyPr/>
        <a:lstStyle/>
        <a:p>
          <a:r>
            <a:rPr lang="es-ES" dirty="0"/>
            <a:t>Feb 2020</a:t>
          </a:r>
          <a:endParaRPr lang="es-CL" dirty="0"/>
        </a:p>
      </dgm:t>
    </dgm:pt>
    <dgm:pt modelId="{4EE03EF5-A7B9-4DF7-B092-8286196C30AF}" type="parTrans" cxnId="{01168C22-BB35-4A4F-B8D5-4943E971E3EC}">
      <dgm:prSet/>
      <dgm:spPr/>
      <dgm:t>
        <a:bodyPr/>
        <a:lstStyle/>
        <a:p>
          <a:endParaRPr lang="es-CL"/>
        </a:p>
      </dgm:t>
    </dgm:pt>
    <dgm:pt modelId="{55323843-7982-46DE-A96C-356DB2178D5C}" type="sibTrans" cxnId="{01168C22-BB35-4A4F-B8D5-4943E971E3EC}">
      <dgm:prSet/>
      <dgm:spPr/>
      <dgm:t>
        <a:bodyPr/>
        <a:lstStyle/>
        <a:p>
          <a:endParaRPr lang="es-CL"/>
        </a:p>
      </dgm:t>
    </dgm:pt>
    <dgm:pt modelId="{9494ADAA-415D-4FC8-B3E9-09F6CCFF43BA}">
      <dgm:prSet phldrT="[Texto]"/>
      <dgm:spPr/>
      <dgm:t>
        <a:bodyPr/>
        <a:lstStyle/>
        <a:p>
          <a:r>
            <a:rPr lang="es-CL" dirty="0"/>
            <a:t>Circular 3528 Modifica instrucciones sobre la evaluación de los factores de riesgos psicosociales laborales</a:t>
          </a:r>
        </a:p>
      </dgm:t>
    </dgm:pt>
    <dgm:pt modelId="{26BE2F45-3EA0-44A2-A131-6E56BEE85FB2}" type="parTrans" cxnId="{07D24EAE-97C8-4666-9B31-6DF23F93A80D}">
      <dgm:prSet/>
      <dgm:spPr/>
      <dgm:t>
        <a:bodyPr/>
        <a:lstStyle/>
        <a:p>
          <a:endParaRPr lang="es-CL"/>
        </a:p>
      </dgm:t>
    </dgm:pt>
    <dgm:pt modelId="{086D8D8D-5CE1-4548-B636-1D6A8FE7B58C}" type="sibTrans" cxnId="{07D24EAE-97C8-4666-9B31-6DF23F93A80D}">
      <dgm:prSet/>
      <dgm:spPr/>
      <dgm:t>
        <a:bodyPr/>
        <a:lstStyle/>
        <a:p>
          <a:endParaRPr lang="es-CL"/>
        </a:p>
      </dgm:t>
    </dgm:pt>
    <dgm:pt modelId="{BDBBB02B-0FF5-471B-A193-549021039BD5}">
      <dgm:prSet phldrT="[Texto]"/>
      <dgm:spPr/>
      <dgm:t>
        <a:bodyPr/>
        <a:lstStyle/>
        <a:p>
          <a:r>
            <a:rPr lang="es-ES" dirty="0"/>
            <a:t>Circular 3497 Modifica protocolo de patologías de salud mental</a:t>
          </a:r>
          <a:endParaRPr lang="es-CL" dirty="0"/>
        </a:p>
      </dgm:t>
    </dgm:pt>
    <dgm:pt modelId="{57572F3E-066C-40F1-A3A2-55A1106E017C}" type="parTrans" cxnId="{DA6CF9F0-8B43-4472-8405-7997AF80F7A9}">
      <dgm:prSet/>
      <dgm:spPr/>
      <dgm:t>
        <a:bodyPr/>
        <a:lstStyle/>
        <a:p>
          <a:endParaRPr lang="es-CL"/>
        </a:p>
      </dgm:t>
    </dgm:pt>
    <dgm:pt modelId="{6AD7A5F8-7D2A-4A90-AFE8-A6616E208CA5}" type="sibTrans" cxnId="{DA6CF9F0-8B43-4472-8405-7997AF80F7A9}">
      <dgm:prSet/>
      <dgm:spPr/>
      <dgm:t>
        <a:bodyPr/>
        <a:lstStyle/>
        <a:p>
          <a:endParaRPr lang="es-CL"/>
        </a:p>
      </dgm:t>
    </dgm:pt>
    <dgm:pt modelId="{67FFFBBA-1C0F-4276-81DA-4F0D5DE8FF8B}">
      <dgm:prSet phldrT="[Texto]"/>
      <dgm:spPr/>
      <dgm:t>
        <a:bodyPr/>
        <a:lstStyle/>
        <a:p>
          <a:r>
            <a:rPr lang="es-ES"/>
            <a:t>Ago </a:t>
          </a:r>
          <a:r>
            <a:rPr lang="es-ES" dirty="0"/>
            <a:t>2020</a:t>
          </a:r>
          <a:endParaRPr lang="es-CL" dirty="0"/>
        </a:p>
      </dgm:t>
    </dgm:pt>
    <dgm:pt modelId="{DF456C79-555C-4AFE-9D9E-4FF6AE3BAC6D}" type="parTrans" cxnId="{97F0E4D5-52D0-436A-9715-E6B13C4F5109}">
      <dgm:prSet/>
      <dgm:spPr/>
      <dgm:t>
        <a:bodyPr/>
        <a:lstStyle/>
        <a:p>
          <a:endParaRPr lang="es-CL"/>
        </a:p>
      </dgm:t>
    </dgm:pt>
    <dgm:pt modelId="{C6D0F5F7-DC32-465B-B53B-3EE25347A2B9}" type="sibTrans" cxnId="{97F0E4D5-52D0-436A-9715-E6B13C4F5109}">
      <dgm:prSet/>
      <dgm:spPr/>
      <dgm:t>
        <a:bodyPr/>
        <a:lstStyle/>
        <a:p>
          <a:endParaRPr lang="es-CL"/>
        </a:p>
      </dgm:t>
    </dgm:pt>
    <dgm:pt modelId="{78CF89AF-7313-4684-B816-8406672515CA}">
      <dgm:prSet phldrT="[Texto]"/>
      <dgm:spPr/>
      <dgm:t>
        <a:bodyPr/>
        <a:lstStyle/>
        <a:p>
          <a:r>
            <a:rPr lang="es-ES" dirty="0"/>
            <a:t>Circular 3468 Recargo de cotización y prescripción de medidas preventivas </a:t>
          </a:r>
          <a:endParaRPr lang="es-CL" dirty="0"/>
        </a:p>
      </dgm:t>
    </dgm:pt>
    <dgm:pt modelId="{64BB2410-4761-4C09-A7D7-6899BAF76471}" type="parTrans" cxnId="{DA5E5E8A-9DE5-4CA7-B753-91295BB89787}">
      <dgm:prSet/>
      <dgm:spPr/>
      <dgm:t>
        <a:bodyPr/>
        <a:lstStyle/>
        <a:p>
          <a:endParaRPr lang="es-CL"/>
        </a:p>
      </dgm:t>
    </dgm:pt>
    <dgm:pt modelId="{DEC38FD9-E039-4787-933A-95E2DBF65B07}" type="sibTrans" cxnId="{DA5E5E8A-9DE5-4CA7-B753-91295BB89787}">
      <dgm:prSet/>
      <dgm:spPr/>
      <dgm:t>
        <a:bodyPr/>
        <a:lstStyle/>
        <a:p>
          <a:endParaRPr lang="es-CL"/>
        </a:p>
      </dgm:t>
    </dgm:pt>
    <dgm:pt modelId="{D3A75C12-85D3-49F2-A026-2E4DCDDAB050}">
      <dgm:prSet phldrT="[Texto]"/>
      <dgm:spPr/>
      <dgm:t>
        <a:bodyPr/>
        <a:lstStyle/>
        <a:p>
          <a:r>
            <a:rPr lang="es-CL" dirty="0" err="1"/>
            <a:t>Ago</a:t>
          </a:r>
          <a:r>
            <a:rPr lang="es-CL" dirty="0"/>
            <a:t> 2019</a:t>
          </a:r>
        </a:p>
      </dgm:t>
    </dgm:pt>
    <dgm:pt modelId="{13E22797-43D8-4001-AA81-9751DF97E6DF}" type="parTrans" cxnId="{C84AB469-0E30-4DCC-AD7F-C825CE12596A}">
      <dgm:prSet/>
      <dgm:spPr/>
      <dgm:t>
        <a:bodyPr/>
        <a:lstStyle/>
        <a:p>
          <a:endParaRPr lang="es-CL"/>
        </a:p>
      </dgm:t>
    </dgm:pt>
    <dgm:pt modelId="{52362D7E-0CA7-4A51-BD6D-1E7D50CD0ADA}" type="sibTrans" cxnId="{C84AB469-0E30-4DCC-AD7F-C825CE12596A}">
      <dgm:prSet/>
      <dgm:spPr/>
      <dgm:t>
        <a:bodyPr/>
        <a:lstStyle/>
        <a:p>
          <a:endParaRPr lang="es-CL"/>
        </a:p>
      </dgm:t>
    </dgm:pt>
    <dgm:pt modelId="{A5C142F1-565D-406A-9882-2F32F435DB94}" type="pres">
      <dgm:prSet presAssocID="{2D361DC0-BEA9-40CA-BDEF-7B10EF24FF0D}" presName="linearFlow" presStyleCnt="0">
        <dgm:presLayoutVars>
          <dgm:dir/>
          <dgm:animLvl val="lvl"/>
          <dgm:resizeHandles val="exact"/>
        </dgm:presLayoutVars>
      </dgm:prSet>
      <dgm:spPr/>
    </dgm:pt>
    <dgm:pt modelId="{4196CADB-4734-4C01-93B5-B0A5766DBE2F}" type="pres">
      <dgm:prSet presAssocID="{B876459D-9330-4F6A-8C3A-E2DA5726F466}" presName="composite" presStyleCnt="0"/>
      <dgm:spPr/>
    </dgm:pt>
    <dgm:pt modelId="{8D8B68D7-3FF7-4BFF-AA94-9A5F755CE969}" type="pres">
      <dgm:prSet presAssocID="{B876459D-9330-4F6A-8C3A-E2DA5726F466}" presName="parTx" presStyleLbl="node1" presStyleIdx="0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E1086FA9-1F5A-4903-BDD1-3FFA49D0FB59}" type="pres">
      <dgm:prSet presAssocID="{B876459D-9330-4F6A-8C3A-E2DA5726F466}" presName="parSh" presStyleLbl="node1" presStyleIdx="0" presStyleCnt="6"/>
      <dgm:spPr/>
      <dgm:t>
        <a:bodyPr/>
        <a:lstStyle/>
        <a:p>
          <a:endParaRPr lang="es-CL"/>
        </a:p>
      </dgm:t>
    </dgm:pt>
    <dgm:pt modelId="{151C610D-0508-4B84-A42D-E3E6FF63E84D}" type="pres">
      <dgm:prSet presAssocID="{B876459D-9330-4F6A-8C3A-E2DA5726F466}" presName="desTx" presStyleLbl="fgAcc1" presStyleIdx="0" presStyleCnt="6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9F19F0AE-C23C-465F-A9AC-236120600796}" type="pres">
      <dgm:prSet presAssocID="{2EDF444C-1904-47F3-8763-7A4935CD2A37}" presName="sibTrans" presStyleLbl="sibTrans2D1" presStyleIdx="0" presStyleCnt="5"/>
      <dgm:spPr/>
      <dgm:t>
        <a:bodyPr/>
        <a:lstStyle/>
        <a:p>
          <a:endParaRPr lang="es-CL"/>
        </a:p>
      </dgm:t>
    </dgm:pt>
    <dgm:pt modelId="{54DE2C9A-5A54-478C-8704-146854707D08}" type="pres">
      <dgm:prSet presAssocID="{2EDF444C-1904-47F3-8763-7A4935CD2A37}" presName="connTx" presStyleLbl="sibTrans2D1" presStyleIdx="0" presStyleCnt="5"/>
      <dgm:spPr/>
      <dgm:t>
        <a:bodyPr/>
        <a:lstStyle/>
        <a:p>
          <a:endParaRPr lang="es-CL"/>
        </a:p>
      </dgm:t>
    </dgm:pt>
    <dgm:pt modelId="{F6F42834-4294-4502-9A76-D8B3F830C18E}" type="pres">
      <dgm:prSet presAssocID="{EB3CE6B5-06CE-4D9C-B199-F9AE675A5A14}" presName="composite" presStyleCnt="0"/>
      <dgm:spPr/>
    </dgm:pt>
    <dgm:pt modelId="{87D81C66-FEFF-483B-87F2-E8922605216F}" type="pres">
      <dgm:prSet presAssocID="{EB3CE6B5-06CE-4D9C-B199-F9AE675A5A14}" presName="parTx" presStyleLbl="node1" presStyleIdx="0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444A9240-D7D0-4CE8-861F-2D9D28CB0E17}" type="pres">
      <dgm:prSet presAssocID="{EB3CE6B5-06CE-4D9C-B199-F9AE675A5A14}" presName="parSh" presStyleLbl="node1" presStyleIdx="1" presStyleCnt="6"/>
      <dgm:spPr/>
      <dgm:t>
        <a:bodyPr/>
        <a:lstStyle/>
        <a:p>
          <a:endParaRPr lang="es-CL"/>
        </a:p>
      </dgm:t>
    </dgm:pt>
    <dgm:pt modelId="{DCF88956-1EC8-4C3C-921E-F2F3253ADCD9}" type="pres">
      <dgm:prSet presAssocID="{EB3CE6B5-06CE-4D9C-B199-F9AE675A5A14}" presName="desTx" presStyleLbl="fgAcc1" presStyleIdx="1" presStyleCnt="6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9BBDF41B-7FEC-4627-86A6-B67DFE4CBF7F}" type="pres">
      <dgm:prSet presAssocID="{070964B4-0F8C-4172-8F3D-E88412A6398A}" presName="sibTrans" presStyleLbl="sibTrans2D1" presStyleIdx="1" presStyleCnt="5"/>
      <dgm:spPr/>
      <dgm:t>
        <a:bodyPr/>
        <a:lstStyle/>
        <a:p>
          <a:endParaRPr lang="es-CL"/>
        </a:p>
      </dgm:t>
    </dgm:pt>
    <dgm:pt modelId="{034AC4CB-6E1B-4864-9541-7E4A23E7DFEA}" type="pres">
      <dgm:prSet presAssocID="{070964B4-0F8C-4172-8F3D-E88412A6398A}" presName="connTx" presStyleLbl="sibTrans2D1" presStyleIdx="1" presStyleCnt="5"/>
      <dgm:spPr/>
      <dgm:t>
        <a:bodyPr/>
        <a:lstStyle/>
        <a:p>
          <a:endParaRPr lang="es-CL"/>
        </a:p>
      </dgm:t>
    </dgm:pt>
    <dgm:pt modelId="{05E8D812-B772-4710-94CC-00EC651DE5D4}" type="pres">
      <dgm:prSet presAssocID="{D3A75C12-85D3-49F2-A026-2E4DCDDAB050}" presName="composite" presStyleCnt="0"/>
      <dgm:spPr/>
    </dgm:pt>
    <dgm:pt modelId="{21E6D9FA-7923-4573-B2A1-49166122FF16}" type="pres">
      <dgm:prSet presAssocID="{D3A75C12-85D3-49F2-A026-2E4DCDDAB050}" presName="parTx" presStyleLbl="node1" presStyleIdx="1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2114ECF0-7402-4022-9404-1483AB1B9F10}" type="pres">
      <dgm:prSet presAssocID="{D3A75C12-85D3-49F2-A026-2E4DCDDAB050}" presName="parSh" presStyleLbl="node1" presStyleIdx="2" presStyleCnt="6"/>
      <dgm:spPr/>
      <dgm:t>
        <a:bodyPr/>
        <a:lstStyle/>
        <a:p>
          <a:endParaRPr lang="es-CL"/>
        </a:p>
      </dgm:t>
    </dgm:pt>
    <dgm:pt modelId="{5799AAD8-4E39-4607-B892-6106A4FA1255}" type="pres">
      <dgm:prSet presAssocID="{D3A75C12-85D3-49F2-A026-2E4DCDDAB050}" presName="desTx" presStyleLbl="fgAcc1" presStyleIdx="2" presStyleCnt="6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BB01BD82-9AC1-4D5A-AFC0-327E237C7DCA}" type="pres">
      <dgm:prSet presAssocID="{52362D7E-0CA7-4A51-BD6D-1E7D50CD0ADA}" presName="sibTrans" presStyleLbl="sibTrans2D1" presStyleIdx="2" presStyleCnt="5"/>
      <dgm:spPr/>
      <dgm:t>
        <a:bodyPr/>
        <a:lstStyle/>
        <a:p>
          <a:endParaRPr lang="es-CL"/>
        </a:p>
      </dgm:t>
    </dgm:pt>
    <dgm:pt modelId="{B7DE2D6F-414D-428F-94D5-C0FF7B43AE53}" type="pres">
      <dgm:prSet presAssocID="{52362D7E-0CA7-4A51-BD6D-1E7D50CD0ADA}" presName="connTx" presStyleLbl="sibTrans2D1" presStyleIdx="2" presStyleCnt="5"/>
      <dgm:spPr/>
      <dgm:t>
        <a:bodyPr/>
        <a:lstStyle/>
        <a:p>
          <a:endParaRPr lang="es-CL"/>
        </a:p>
      </dgm:t>
    </dgm:pt>
    <dgm:pt modelId="{82653012-81D3-45AE-88F4-DEA3656A94E7}" type="pres">
      <dgm:prSet presAssocID="{1C62EF5D-EBAE-474D-AB7F-2F462ABAEF36}" presName="composite" presStyleCnt="0"/>
      <dgm:spPr/>
    </dgm:pt>
    <dgm:pt modelId="{4817FBCB-8B81-4D05-BA08-97FB61DAA622}" type="pres">
      <dgm:prSet presAssocID="{1C62EF5D-EBAE-474D-AB7F-2F462ABAEF36}" presName="parTx" presStyleLbl="node1" presStyleIdx="2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DB160992-9B67-480C-B4B5-771FDCD77E71}" type="pres">
      <dgm:prSet presAssocID="{1C62EF5D-EBAE-474D-AB7F-2F462ABAEF36}" presName="parSh" presStyleLbl="node1" presStyleIdx="3" presStyleCnt="6"/>
      <dgm:spPr/>
      <dgm:t>
        <a:bodyPr/>
        <a:lstStyle/>
        <a:p>
          <a:endParaRPr lang="es-CL"/>
        </a:p>
      </dgm:t>
    </dgm:pt>
    <dgm:pt modelId="{5E3296A8-71CA-4AF0-A30C-CA302CA138AD}" type="pres">
      <dgm:prSet presAssocID="{1C62EF5D-EBAE-474D-AB7F-2F462ABAEF36}" presName="desTx" presStyleLbl="fgAcc1" presStyleIdx="3" presStyleCnt="6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C8A98BA5-B2D4-49FA-9DD8-D8D1482426D6}" type="pres">
      <dgm:prSet presAssocID="{E3400F6C-3F48-4836-A075-EB6CC6B3BC27}" presName="sibTrans" presStyleLbl="sibTrans2D1" presStyleIdx="3" presStyleCnt="5"/>
      <dgm:spPr/>
      <dgm:t>
        <a:bodyPr/>
        <a:lstStyle/>
        <a:p>
          <a:endParaRPr lang="es-CL"/>
        </a:p>
      </dgm:t>
    </dgm:pt>
    <dgm:pt modelId="{6471E5B9-9C84-44EE-A57A-00390AFB46BF}" type="pres">
      <dgm:prSet presAssocID="{E3400F6C-3F48-4836-A075-EB6CC6B3BC27}" presName="connTx" presStyleLbl="sibTrans2D1" presStyleIdx="3" presStyleCnt="5"/>
      <dgm:spPr/>
      <dgm:t>
        <a:bodyPr/>
        <a:lstStyle/>
        <a:p>
          <a:endParaRPr lang="es-CL"/>
        </a:p>
      </dgm:t>
    </dgm:pt>
    <dgm:pt modelId="{ED1070EF-D722-457B-A03C-A294FBFAF093}" type="pres">
      <dgm:prSet presAssocID="{92A1EB1F-630A-4EB4-A967-5AB886FA644B}" presName="composite" presStyleCnt="0"/>
      <dgm:spPr/>
    </dgm:pt>
    <dgm:pt modelId="{173C747D-2DFD-4779-BCD1-AD24D67880B2}" type="pres">
      <dgm:prSet presAssocID="{92A1EB1F-630A-4EB4-A967-5AB886FA644B}" presName="parTx" presStyleLbl="node1" presStyleIdx="3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94DAFDED-1B25-40FA-8A5D-96337DFF0894}" type="pres">
      <dgm:prSet presAssocID="{92A1EB1F-630A-4EB4-A967-5AB886FA644B}" presName="parSh" presStyleLbl="node1" presStyleIdx="4" presStyleCnt="6"/>
      <dgm:spPr/>
      <dgm:t>
        <a:bodyPr/>
        <a:lstStyle/>
        <a:p>
          <a:endParaRPr lang="es-CL"/>
        </a:p>
      </dgm:t>
    </dgm:pt>
    <dgm:pt modelId="{3E692B72-0C57-45D4-A5F3-DFEE044F5E94}" type="pres">
      <dgm:prSet presAssocID="{92A1EB1F-630A-4EB4-A967-5AB886FA644B}" presName="desTx" presStyleLbl="fgAcc1" presStyleIdx="4" presStyleCnt="6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1C821440-DE58-4E24-B1D2-C4121B2FAC8B}" type="pres">
      <dgm:prSet presAssocID="{55323843-7982-46DE-A96C-356DB2178D5C}" presName="sibTrans" presStyleLbl="sibTrans2D1" presStyleIdx="4" presStyleCnt="5"/>
      <dgm:spPr/>
      <dgm:t>
        <a:bodyPr/>
        <a:lstStyle/>
        <a:p>
          <a:endParaRPr lang="es-CL"/>
        </a:p>
      </dgm:t>
    </dgm:pt>
    <dgm:pt modelId="{B6F8E211-8D4F-4D3A-B188-7A61EB2C4050}" type="pres">
      <dgm:prSet presAssocID="{55323843-7982-46DE-A96C-356DB2178D5C}" presName="connTx" presStyleLbl="sibTrans2D1" presStyleIdx="4" presStyleCnt="5"/>
      <dgm:spPr/>
      <dgm:t>
        <a:bodyPr/>
        <a:lstStyle/>
        <a:p>
          <a:endParaRPr lang="es-CL"/>
        </a:p>
      </dgm:t>
    </dgm:pt>
    <dgm:pt modelId="{A22F3033-45B0-4306-9D12-0BC73DF8F425}" type="pres">
      <dgm:prSet presAssocID="{67FFFBBA-1C0F-4276-81DA-4F0D5DE8FF8B}" presName="composite" presStyleCnt="0"/>
      <dgm:spPr/>
    </dgm:pt>
    <dgm:pt modelId="{1724F629-1B38-4D19-91C8-5CAA9BA20EAB}" type="pres">
      <dgm:prSet presAssocID="{67FFFBBA-1C0F-4276-81DA-4F0D5DE8FF8B}" presName="parTx" presStyleLbl="node1" presStyleIdx="4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BB3D32D9-DE66-4B3F-8F49-BCB8773B43FD}" type="pres">
      <dgm:prSet presAssocID="{67FFFBBA-1C0F-4276-81DA-4F0D5DE8FF8B}" presName="parSh" presStyleLbl="node1" presStyleIdx="5" presStyleCnt="6"/>
      <dgm:spPr/>
      <dgm:t>
        <a:bodyPr/>
        <a:lstStyle/>
        <a:p>
          <a:endParaRPr lang="es-CL"/>
        </a:p>
      </dgm:t>
    </dgm:pt>
    <dgm:pt modelId="{FD7716D6-4DE7-4A73-89EA-24ABAA7EC8BA}" type="pres">
      <dgm:prSet presAssocID="{67FFFBBA-1C0F-4276-81DA-4F0D5DE8FF8B}" presName="desTx" presStyleLbl="fgAcc1" presStyleIdx="5" presStyleCnt="6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</dgm:ptLst>
  <dgm:cxnLst>
    <dgm:cxn modelId="{1637C9E5-5DD5-43E1-883A-A92B81687681}" type="presOf" srcId="{2EDF444C-1904-47F3-8763-7A4935CD2A37}" destId="{9F19F0AE-C23C-465F-A9AC-236120600796}" srcOrd="0" destOrd="0" presId="urn:microsoft.com/office/officeart/2005/8/layout/process3"/>
    <dgm:cxn modelId="{CDB60413-4936-428D-ABB9-9F63BFEFC1AC}" srcId="{B876459D-9330-4F6A-8C3A-E2DA5726F466}" destId="{AAE1F1A1-813F-4243-81F7-BB8A0D138883}" srcOrd="0" destOrd="0" parTransId="{CA3B627D-63C9-4BE2-875F-2D0D62C2B97A}" sibTransId="{3020E995-E08D-4181-BA2D-7A596F9364B2}"/>
    <dgm:cxn modelId="{6E2A9C6F-F868-47A8-87DA-D18BC33C86F9}" type="presOf" srcId="{55323843-7982-46DE-A96C-356DB2178D5C}" destId="{1C821440-DE58-4E24-B1D2-C4121B2FAC8B}" srcOrd="0" destOrd="0" presId="urn:microsoft.com/office/officeart/2005/8/layout/process3"/>
    <dgm:cxn modelId="{DC431224-A809-438A-8A29-032CE0AA7EC8}" type="presOf" srcId="{070964B4-0F8C-4172-8F3D-E88412A6398A}" destId="{9BBDF41B-7FEC-4627-86A6-B67DFE4CBF7F}" srcOrd="0" destOrd="0" presId="urn:microsoft.com/office/officeart/2005/8/layout/process3"/>
    <dgm:cxn modelId="{98B0664B-6F27-421F-B577-611FEA52FE9F}" srcId="{EB3CE6B5-06CE-4D9C-B199-F9AE675A5A14}" destId="{9DEDAEBE-0A29-403B-8913-D8112CF52F0F}" srcOrd="0" destOrd="0" parTransId="{2B6BE12A-7DF2-4022-B0FE-98F63690A87F}" sibTransId="{8118B28E-E732-44CA-948A-BAF070F3A503}"/>
    <dgm:cxn modelId="{46378E4E-EA27-423A-B696-AD2BEE0A71B8}" srcId="{2D361DC0-BEA9-40CA-BDEF-7B10EF24FF0D}" destId="{B876459D-9330-4F6A-8C3A-E2DA5726F466}" srcOrd="0" destOrd="0" parTransId="{846ADDA5-EA84-409A-B950-D9462D6CB80A}" sibTransId="{2EDF444C-1904-47F3-8763-7A4935CD2A37}"/>
    <dgm:cxn modelId="{9A90AB29-CD8D-44DB-A5AF-0ED2BEE62E4C}" type="presOf" srcId="{55323843-7982-46DE-A96C-356DB2178D5C}" destId="{B6F8E211-8D4F-4D3A-B188-7A61EB2C4050}" srcOrd="1" destOrd="0" presId="urn:microsoft.com/office/officeart/2005/8/layout/process3"/>
    <dgm:cxn modelId="{2F988BB1-865B-496F-9028-E12036FB5990}" type="presOf" srcId="{D3A75C12-85D3-49F2-A026-2E4DCDDAB050}" destId="{2114ECF0-7402-4022-9404-1483AB1B9F10}" srcOrd="1" destOrd="0" presId="urn:microsoft.com/office/officeart/2005/8/layout/process3"/>
    <dgm:cxn modelId="{8BA04E57-7686-49B3-885E-E807E046B64B}" type="presOf" srcId="{52362D7E-0CA7-4A51-BD6D-1E7D50CD0ADA}" destId="{BB01BD82-9AC1-4D5A-AFC0-327E237C7DCA}" srcOrd="0" destOrd="0" presId="urn:microsoft.com/office/officeart/2005/8/layout/process3"/>
    <dgm:cxn modelId="{B98E9827-573C-43FE-9721-39395DB8F168}" type="presOf" srcId="{2EDF444C-1904-47F3-8763-7A4935CD2A37}" destId="{54DE2C9A-5A54-478C-8704-146854707D08}" srcOrd="1" destOrd="0" presId="urn:microsoft.com/office/officeart/2005/8/layout/process3"/>
    <dgm:cxn modelId="{CF30201F-453F-429D-A6C2-2C0A3C09B894}" type="presOf" srcId="{EB3CE6B5-06CE-4D9C-B199-F9AE675A5A14}" destId="{444A9240-D7D0-4CE8-861F-2D9D28CB0E17}" srcOrd="1" destOrd="0" presId="urn:microsoft.com/office/officeart/2005/8/layout/process3"/>
    <dgm:cxn modelId="{E289C71F-DE64-435A-8D45-88E29F4E9B57}" type="presOf" srcId="{E3400F6C-3F48-4836-A075-EB6CC6B3BC27}" destId="{6471E5B9-9C84-44EE-A57A-00390AFB46BF}" srcOrd="1" destOrd="0" presId="urn:microsoft.com/office/officeart/2005/8/layout/process3"/>
    <dgm:cxn modelId="{7C5A3C8A-ED92-4F6F-B035-B1611667DC60}" type="presOf" srcId="{E3400F6C-3F48-4836-A075-EB6CC6B3BC27}" destId="{C8A98BA5-B2D4-49FA-9DD8-D8D1482426D6}" srcOrd="0" destOrd="0" presId="urn:microsoft.com/office/officeart/2005/8/layout/process3"/>
    <dgm:cxn modelId="{6A61AA11-3D5B-412A-80CE-D6807B20DF2C}" type="presOf" srcId="{92A1EB1F-630A-4EB4-A967-5AB886FA644B}" destId="{173C747D-2DFD-4779-BCD1-AD24D67880B2}" srcOrd="0" destOrd="0" presId="urn:microsoft.com/office/officeart/2005/8/layout/process3"/>
    <dgm:cxn modelId="{F0D3FF6B-0F64-46AC-AEDB-988F4D80C726}" type="presOf" srcId="{B876459D-9330-4F6A-8C3A-E2DA5726F466}" destId="{E1086FA9-1F5A-4903-BDD1-3FFA49D0FB59}" srcOrd="1" destOrd="0" presId="urn:microsoft.com/office/officeart/2005/8/layout/process3"/>
    <dgm:cxn modelId="{3708F1E4-1BFC-4785-AFC8-A1850329610E}" srcId="{2D361DC0-BEA9-40CA-BDEF-7B10EF24FF0D}" destId="{1C62EF5D-EBAE-474D-AB7F-2F462ABAEF36}" srcOrd="3" destOrd="0" parTransId="{9431017D-A383-4F80-B3B8-7D0644EEA409}" sibTransId="{E3400F6C-3F48-4836-A075-EB6CC6B3BC27}"/>
    <dgm:cxn modelId="{143BA6B2-5837-4890-99A6-A57029D2C0A7}" type="presOf" srcId="{070964B4-0F8C-4172-8F3D-E88412A6398A}" destId="{034AC4CB-6E1B-4864-9541-7E4A23E7DFEA}" srcOrd="1" destOrd="0" presId="urn:microsoft.com/office/officeart/2005/8/layout/process3"/>
    <dgm:cxn modelId="{DA5E5E8A-9DE5-4CA7-B753-91295BB89787}" srcId="{1C62EF5D-EBAE-474D-AB7F-2F462ABAEF36}" destId="{78CF89AF-7313-4684-B816-8406672515CA}" srcOrd="0" destOrd="0" parTransId="{64BB2410-4761-4C09-A7D7-6899BAF76471}" sibTransId="{DEC38FD9-E039-4787-933A-95E2DBF65B07}"/>
    <dgm:cxn modelId="{07D24EAE-97C8-4666-9B31-6DF23F93A80D}" srcId="{67FFFBBA-1C0F-4276-81DA-4F0D5DE8FF8B}" destId="{9494ADAA-415D-4FC8-B3E9-09F6CCFF43BA}" srcOrd="0" destOrd="0" parTransId="{26BE2F45-3EA0-44A2-A131-6E56BEE85FB2}" sibTransId="{086D8D8D-5CE1-4548-B636-1D6A8FE7B58C}"/>
    <dgm:cxn modelId="{4184E2EC-CA1B-4675-9447-3E6357FDFEAF}" type="presOf" srcId="{9DEDAEBE-0A29-403B-8913-D8112CF52F0F}" destId="{DCF88956-1EC8-4C3C-921E-F2F3253ADCD9}" srcOrd="0" destOrd="0" presId="urn:microsoft.com/office/officeart/2005/8/layout/process3"/>
    <dgm:cxn modelId="{B8840D01-B789-4114-8497-74F81A1F88E3}" type="presOf" srcId="{67FFFBBA-1C0F-4276-81DA-4F0D5DE8FF8B}" destId="{1724F629-1B38-4D19-91C8-5CAA9BA20EAB}" srcOrd="0" destOrd="0" presId="urn:microsoft.com/office/officeart/2005/8/layout/process3"/>
    <dgm:cxn modelId="{D836B386-C49C-4BF7-9908-AFF1DEBC0D35}" type="presOf" srcId="{2D361DC0-BEA9-40CA-BDEF-7B10EF24FF0D}" destId="{A5C142F1-565D-406A-9882-2F32F435DB94}" srcOrd="0" destOrd="0" presId="urn:microsoft.com/office/officeart/2005/8/layout/process3"/>
    <dgm:cxn modelId="{3842D783-1379-4CB8-8E09-7DECC284318A}" type="presOf" srcId="{52362D7E-0CA7-4A51-BD6D-1E7D50CD0ADA}" destId="{B7DE2D6F-414D-428F-94D5-C0FF7B43AE53}" srcOrd="1" destOrd="0" presId="urn:microsoft.com/office/officeart/2005/8/layout/process3"/>
    <dgm:cxn modelId="{2D2F5AE3-B110-4245-B15F-CB45D77375A5}" type="presOf" srcId="{1C62EF5D-EBAE-474D-AB7F-2F462ABAEF36}" destId="{DB160992-9B67-480C-B4B5-771FDCD77E71}" srcOrd="1" destOrd="0" presId="urn:microsoft.com/office/officeart/2005/8/layout/process3"/>
    <dgm:cxn modelId="{44C7F0E1-1EBC-4B1B-9172-A0EC2C5D0F21}" type="presOf" srcId="{EB3CE6B5-06CE-4D9C-B199-F9AE675A5A14}" destId="{87D81C66-FEFF-483B-87F2-E8922605216F}" srcOrd="0" destOrd="0" presId="urn:microsoft.com/office/officeart/2005/8/layout/process3"/>
    <dgm:cxn modelId="{DF1C3D79-8120-4AB0-8426-1ADD18010F71}" srcId="{D3A75C12-85D3-49F2-A026-2E4DCDDAB050}" destId="{44AA4159-1BBA-4BA0-B277-55DC8C0F5B22}" srcOrd="0" destOrd="0" parTransId="{BAC146CD-B2DD-4C17-9A3C-0044576048F6}" sibTransId="{9996B9DC-2F69-485F-B8DE-827CDC7701E1}"/>
    <dgm:cxn modelId="{D5D058BD-2D09-4C37-9137-1B134D40727F}" type="presOf" srcId="{78CF89AF-7313-4684-B816-8406672515CA}" destId="{5E3296A8-71CA-4AF0-A30C-CA302CA138AD}" srcOrd="0" destOrd="0" presId="urn:microsoft.com/office/officeart/2005/8/layout/process3"/>
    <dgm:cxn modelId="{7EFE3202-ED30-4664-A883-CE09DDF18CA2}" type="presOf" srcId="{D3A75C12-85D3-49F2-A026-2E4DCDDAB050}" destId="{21E6D9FA-7923-4573-B2A1-49166122FF16}" srcOrd="0" destOrd="0" presId="urn:microsoft.com/office/officeart/2005/8/layout/process3"/>
    <dgm:cxn modelId="{205E288A-84D4-44CE-B030-88C581B9EB24}" srcId="{2D361DC0-BEA9-40CA-BDEF-7B10EF24FF0D}" destId="{EB3CE6B5-06CE-4D9C-B199-F9AE675A5A14}" srcOrd="1" destOrd="0" parTransId="{BC68AF57-C1F1-421E-A8BB-2BB7A762E165}" sibTransId="{070964B4-0F8C-4172-8F3D-E88412A6398A}"/>
    <dgm:cxn modelId="{C49B05D3-06B7-4B4F-BFD0-381899B3FA94}" type="presOf" srcId="{AAE1F1A1-813F-4243-81F7-BB8A0D138883}" destId="{151C610D-0508-4B84-A42D-E3E6FF63E84D}" srcOrd="0" destOrd="0" presId="urn:microsoft.com/office/officeart/2005/8/layout/process3"/>
    <dgm:cxn modelId="{97F0E4D5-52D0-436A-9715-E6B13C4F5109}" srcId="{2D361DC0-BEA9-40CA-BDEF-7B10EF24FF0D}" destId="{67FFFBBA-1C0F-4276-81DA-4F0D5DE8FF8B}" srcOrd="5" destOrd="0" parTransId="{DF456C79-555C-4AFE-9D9E-4FF6AE3BAC6D}" sibTransId="{C6D0F5F7-DC32-465B-B53B-3EE25347A2B9}"/>
    <dgm:cxn modelId="{01168C22-BB35-4A4F-B8D5-4943E971E3EC}" srcId="{2D361DC0-BEA9-40CA-BDEF-7B10EF24FF0D}" destId="{92A1EB1F-630A-4EB4-A967-5AB886FA644B}" srcOrd="4" destOrd="0" parTransId="{4EE03EF5-A7B9-4DF7-B092-8286196C30AF}" sibTransId="{55323843-7982-46DE-A96C-356DB2178D5C}"/>
    <dgm:cxn modelId="{4494AF4E-8CB8-4E20-A54B-4D26235A8496}" type="presOf" srcId="{9494ADAA-415D-4FC8-B3E9-09F6CCFF43BA}" destId="{FD7716D6-4DE7-4A73-89EA-24ABAA7EC8BA}" srcOrd="0" destOrd="0" presId="urn:microsoft.com/office/officeart/2005/8/layout/process3"/>
    <dgm:cxn modelId="{C84AB469-0E30-4DCC-AD7F-C825CE12596A}" srcId="{2D361DC0-BEA9-40CA-BDEF-7B10EF24FF0D}" destId="{D3A75C12-85D3-49F2-A026-2E4DCDDAB050}" srcOrd="2" destOrd="0" parTransId="{13E22797-43D8-4001-AA81-9751DF97E6DF}" sibTransId="{52362D7E-0CA7-4A51-BD6D-1E7D50CD0ADA}"/>
    <dgm:cxn modelId="{F0720599-07ED-421E-87AE-87B65E371ECE}" type="presOf" srcId="{BDBBB02B-0FF5-471B-A193-549021039BD5}" destId="{3E692B72-0C57-45D4-A5F3-DFEE044F5E94}" srcOrd="0" destOrd="0" presId="urn:microsoft.com/office/officeart/2005/8/layout/process3"/>
    <dgm:cxn modelId="{46A2485D-840F-48B8-A369-4BCE167D8FE1}" type="presOf" srcId="{B876459D-9330-4F6A-8C3A-E2DA5726F466}" destId="{8D8B68D7-3FF7-4BFF-AA94-9A5F755CE969}" srcOrd="0" destOrd="0" presId="urn:microsoft.com/office/officeart/2005/8/layout/process3"/>
    <dgm:cxn modelId="{A092C861-E07C-48E8-B99F-503D33EF1478}" type="presOf" srcId="{44AA4159-1BBA-4BA0-B277-55DC8C0F5B22}" destId="{5799AAD8-4E39-4607-B892-6106A4FA1255}" srcOrd="0" destOrd="0" presId="urn:microsoft.com/office/officeart/2005/8/layout/process3"/>
    <dgm:cxn modelId="{D596163D-B089-49AE-A886-CA844C9DA570}" type="presOf" srcId="{67FFFBBA-1C0F-4276-81DA-4F0D5DE8FF8B}" destId="{BB3D32D9-DE66-4B3F-8F49-BCB8773B43FD}" srcOrd="1" destOrd="0" presId="urn:microsoft.com/office/officeart/2005/8/layout/process3"/>
    <dgm:cxn modelId="{51DB46EA-C975-4E8E-BF9A-A4E2001738C1}" type="presOf" srcId="{1C62EF5D-EBAE-474D-AB7F-2F462ABAEF36}" destId="{4817FBCB-8B81-4D05-BA08-97FB61DAA622}" srcOrd="0" destOrd="0" presId="urn:microsoft.com/office/officeart/2005/8/layout/process3"/>
    <dgm:cxn modelId="{823FF187-F7D6-47E6-A69D-1E5B963A91B8}" type="presOf" srcId="{92A1EB1F-630A-4EB4-A967-5AB886FA644B}" destId="{94DAFDED-1B25-40FA-8A5D-96337DFF0894}" srcOrd="1" destOrd="0" presId="urn:microsoft.com/office/officeart/2005/8/layout/process3"/>
    <dgm:cxn modelId="{DA6CF9F0-8B43-4472-8405-7997AF80F7A9}" srcId="{92A1EB1F-630A-4EB4-A967-5AB886FA644B}" destId="{BDBBB02B-0FF5-471B-A193-549021039BD5}" srcOrd="0" destOrd="0" parTransId="{57572F3E-066C-40F1-A3A2-55A1106E017C}" sibTransId="{6AD7A5F8-7D2A-4A90-AFE8-A6616E208CA5}"/>
    <dgm:cxn modelId="{9F92B197-68F5-4C06-A14B-3880C17E86DA}" type="presParOf" srcId="{A5C142F1-565D-406A-9882-2F32F435DB94}" destId="{4196CADB-4734-4C01-93B5-B0A5766DBE2F}" srcOrd="0" destOrd="0" presId="urn:microsoft.com/office/officeart/2005/8/layout/process3"/>
    <dgm:cxn modelId="{0F6F138F-6685-48AC-B76A-2FD1527A4DA6}" type="presParOf" srcId="{4196CADB-4734-4C01-93B5-B0A5766DBE2F}" destId="{8D8B68D7-3FF7-4BFF-AA94-9A5F755CE969}" srcOrd="0" destOrd="0" presId="urn:microsoft.com/office/officeart/2005/8/layout/process3"/>
    <dgm:cxn modelId="{8C776B00-465C-4FBB-9202-7F97FCA5BFA7}" type="presParOf" srcId="{4196CADB-4734-4C01-93B5-B0A5766DBE2F}" destId="{E1086FA9-1F5A-4903-BDD1-3FFA49D0FB59}" srcOrd="1" destOrd="0" presId="urn:microsoft.com/office/officeart/2005/8/layout/process3"/>
    <dgm:cxn modelId="{1C6D1E94-6F84-46AD-B0F7-AFB2FB722B98}" type="presParOf" srcId="{4196CADB-4734-4C01-93B5-B0A5766DBE2F}" destId="{151C610D-0508-4B84-A42D-E3E6FF63E84D}" srcOrd="2" destOrd="0" presId="urn:microsoft.com/office/officeart/2005/8/layout/process3"/>
    <dgm:cxn modelId="{E02D2355-6E12-4FFF-9EB2-A68A25EFC930}" type="presParOf" srcId="{A5C142F1-565D-406A-9882-2F32F435DB94}" destId="{9F19F0AE-C23C-465F-A9AC-236120600796}" srcOrd="1" destOrd="0" presId="urn:microsoft.com/office/officeart/2005/8/layout/process3"/>
    <dgm:cxn modelId="{0AEC4469-CE63-469A-B287-7BF8FF657CF4}" type="presParOf" srcId="{9F19F0AE-C23C-465F-A9AC-236120600796}" destId="{54DE2C9A-5A54-478C-8704-146854707D08}" srcOrd="0" destOrd="0" presId="urn:microsoft.com/office/officeart/2005/8/layout/process3"/>
    <dgm:cxn modelId="{FB20ED93-0B5E-4E50-A502-D7B809386266}" type="presParOf" srcId="{A5C142F1-565D-406A-9882-2F32F435DB94}" destId="{F6F42834-4294-4502-9A76-D8B3F830C18E}" srcOrd="2" destOrd="0" presId="urn:microsoft.com/office/officeart/2005/8/layout/process3"/>
    <dgm:cxn modelId="{462B9C4D-A3E6-4768-A6E7-057F09483D7E}" type="presParOf" srcId="{F6F42834-4294-4502-9A76-D8B3F830C18E}" destId="{87D81C66-FEFF-483B-87F2-E8922605216F}" srcOrd="0" destOrd="0" presId="urn:microsoft.com/office/officeart/2005/8/layout/process3"/>
    <dgm:cxn modelId="{C35A9ABE-DC50-4CE5-B471-EFEFF0E755B1}" type="presParOf" srcId="{F6F42834-4294-4502-9A76-D8B3F830C18E}" destId="{444A9240-D7D0-4CE8-861F-2D9D28CB0E17}" srcOrd="1" destOrd="0" presId="urn:microsoft.com/office/officeart/2005/8/layout/process3"/>
    <dgm:cxn modelId="{07CCC7F5-CB31-44B7-A60D-C0E29F9061B4}" type="presParOf" srcId="{F6F42834-4294-4502-9A76-D8B3F830C18E}" destId="{DCF88956-1EC8-4C3C-921E-F2F3253ADCD9}" srcOrd="2" destOrd="0" presId="urn:microsoft.com/office/officeart/2005/8/layout/process3"/>
    <dgm:cxn modelId="{4015F8B0-31E0-470E-9B26-A59FA79B8BDC}" type="presParOf" srcId="{A5C142F1-565D-406A-9882-2F32F435DB94}" destId="{9BBDF41B-7FEC-4627-86A6-B67DFE4CBF7F}" srcOrd="3" destOrd="0" presId="urn:microsoft.com/office/officeart/2005/8/layout/process3"/>
    <dgm:cxn modelId="{F4FF89DA-1612-4787-8089-2075E07F680F}" type="presParOf" srcId="{9BBDF41B-7FEC-4627-86A6-B67DFE4CBF7F}" destId="{034AC4CB-6E1B-4864-9541-7E4A23E7DFEA}" srcOrd="0" destOrd="0" presId="urn:microsoft.com/office/officeart/2005/8/layout/process3"/>
    <dgm:cxn modelId="{8B455F44-CA31-41C9-BE8A-C5EA85E96E87}" type="presParOf" srcId="{A5C142F1-565D-406A-9882-2F32F435DB94}" destId="{05E8D812-B772-4710-94CC-00EC651DE5D4}" srcOrd="4" destOrd="0" presId="urn:microsoft.com/office/officeart/2005/8/layout/process3"/>
    <dgm:cxn modelId="{6AC52E97-105D-4DCF-8C37-C6A7C9904410}" type="presParOf" srcId="{05E8D812-B772-4710-94CC-00EC651DE5D4}" destId="{21E6D9FA-7923-4573-B2A1-49166122FF16}" srcOrd="0" destOrd="0" presId="urn:microsoft.com/office/officeart/2005/8/layout/process3"/>
    <dgm:cxn modelId="{A7066B00-88D7-4459-9124-8A6559B04F15}" type="presParOf" srcId="{05E8D812-B772-4710-94CC-00EC651DE5D4}" destId="{2114ECF0-7402-4022-9404-1483AB1B9F10}" srcOrd="1" destOrd="0" presId="urn:microsoft.com/office/officeart/2005/8/layout/process3"/>
    <dgm:cxn modelId="{FE5E8B92-D1C5-47E1-95AD-75B5134AF3E3}" type="presParOf" srcId="{05E8D812-B772-4710-94CC-00EC651DE5D4}" destId="{5799AAD8-4E39-4607-B892-6106A4FA1255}" srcOrd="2" destOrd="0" presId="urn:microsoft.com/office/officeart/2005/8/layout/process3"/>
    <dgm:cxn modelId="{B328692E-BE71-48EB-983E-B9F8AB72F034}" type="presParOf" srcId="{A5C142F1-565D-406A-9882-2F32F435DB94}" destId="{BB01BD82-9AC1-4D5A-AFC0-327E237C7DCA}" srcOrd="5" destOrd="0" presId="urn:microsoft.com/office/officeart/2005/8/layout/process3"/>
    <dgm:cxn modelId="{70A66B1C-9DF5-4B30-A282-81916A884D7C}" type="presParOf" srcId="{BB01BD82-9AC1-4D5A-AFC0-327E237C7DCA}" destId="{B7DE2D6F-414D-428F-94D5-C0FF7B43AE53}" srcOrd="0" destOrd="0" presId="urn:microsoft.com/office/officeart/2005/8/layout/process3"/>
    <dgm:cxn modelId="{9FE213B2-5020-487C-9890-6B5CE8351658}" type="presParOf" srcId="{A5C142F1-565D-406A-9882-2F32F435DB94}" destId="{82653012-81D3-45AE-88F4-DEA3656A94E7}" srcOrd="6" destOrd="0" presId="urn:microsoft.com/office/officeart/2005/8/layout/process3"/>
    <dgm:cxn modelId="{A5664A30-8FD8-4D46-8E02-4E2196D50B59}" type="presParOf" srcId="{82653012-81D3-45AE-88F4-DEA3656A94E7}" destId="{4817FBCB-8B81-4D05-BA08-97FB61DAA622}" srcOrd="0" destOrd="0" presId="urn:microsoft.com/office/officeart/2005/8/layout/process3"/>
    <dgm:cxn modelId="{954EE398-D5D2-4F07-A2C1-71C0C3B8D408}" type="presParOf" srcId="{82653012-81D3-45AE-88F4-DEA3656A94E7}" destId="{DB160992-9B67-480C-B4B5-771FDCD77E71}" srcOrd="1" destOrd="0" presId="urn:microsoft.com/office/officeart/2005/8/layout/process3"/>
    <dgm:cxn modelId="{362A0DD6-B3F7-465D-8825-BB5B74986561}" type="presParOf" srcId="{82653012-81D3-45AE-88F4-DEA3656A94E7}" destId="{5E3296A8-71CA-4AF0-A30C-CA302CA138AD}" srcOrd="2" destOrd="0" presId="urn:microsoft.com/office/officeart/2005/8/layout/process3"/>
    <dgm:cxn modelId="{453394C3-B5E6-49F8-960F-5A3714C138E5}" type="presParOf" srcId="{A5C142F1-565D-406A-9882-2F32F435DB94}" destId="{C8A98BA5-B2D4-49FA-9DD8-D8D1482426D6}" srcOrd="7" destOrd="0" presId="urn:microsoft.com/office/officeart/2005/8/layout/process3"/>
    <dgm:cxn modelId="{EF858B23-D972-4AE3-8264-C46C3DD66DC0}" type="presParOf" srcId="{C8A98BA5-B2D4-49FA-9DD8-D8D1482426D6}" destId="{6471E5B9-9C84-44EE-A57A-00390AFB46BF}" srcOrd="0" destOrd="0" presId="urn:microsoft.com/office/officeart/2005/8/layout/process3"/>
    <dgm:cxn modelId="{0865DB77-F0E4-48DB-A3E8-3B75A05C390B}" type="presParOf" srcId="{A5C142F1-565D-406A-9882-2F32F435DB94}" destId="{ED1070EF-D722-457B-A03C-A294FBFAF093}" srcOrd="8" destOrd="0" presId="urn:microsoft.com/office/officeart/2005/8/layout/process3"/>
    <dgm:cxn modelId="{E02550DD-1CD2-49D5-8FAF-938AD6C91452}" type="presParOf" srcId="{ED1070EF-D722-457B-A03C-A294FBFAF093}" destId="{173C747D-2DFD-4779-BCD1-AD24D67880B2}" srcOrd="0" destOrd="0" presId="urn:microsoft.com/office/officeart/2005/8/layout/process3"/>
    <dgm:cxn modelId="{AAF47E6C-A229-43B7-9254-B7FB24B681A4}" type="presParOf" srcId="{ED1070EF-D722-457B-A03C-A294FBFAF093}" destId="{94DAFDED-1B25-40FA-8A5D-96337DFF0894}" srcOrd="1" destOrd="0" presId="urn:microsoft.com/office/officeart/2005/8/layout/process3"/>
    <dgm:cxn modelId="{6D84A79F-729C-4CC7-85D3-56A74E2EF31C}" type="presParOf" srcId="{ED1070EF-D722-457B-A03C-A294FBFAF093}" destId="{3E692B72-0C57-45D4-A5F3-DFEE044F5E94}" srcOrd="2" destOrd="0" presId="urn:microsoft.com/office/officeart/2005/8/layout/process3"/>
    <dgm:cxn modelId="{1AE014C0-A90B-4249-B7EE-41D82E4AF7B4}" type="presParOf" srcId="{A5C142F1-565D-406A-9882-2F32F435DB94}" destId="{1C821440-DE58-4E24-B1D2-C4121B2FAC8B}" srcOrd="9" destOrd="0" presId="urn:microsoft.com/office/officeart/2005/8/layout/process3"/>
    <dgm:cxn modelId="{BEC302CA-E584-4579-ADC0-5135D2DF75A9}" type="presParOf" srcId="{1C821440-DE58-4E24-B1D2-C4121B2FAC8B}" destId="{B6F8E211-8D4F-4D3A-B188-7A61EB2C4050}" srcOrd="0" destOrd="0" presId="urn:microsoft.com/office/officeart/2005/8/layout/process3"/>
    <dgm:cxn modelId="{A53F48F9-24E4-40AB-8B90-670C1C1EC1BF}" type="presParOf" srcId="{A5C142F1-565D-406A-9882-2F32F435DB94}" destId="{A22F3033-45B0-4306-9D12-0BC73DF8F425}" srcOrd="10" destOrd="0" presId="urn:microsoft.com/office/officeart/2005/8/layout/process3"/>
    <dgm:cxn modelId="{7A6ECB7D-8F00-4093-BEB4-179E08955843}" type="presParOf" srcId="{A22F3033-45B0-4306-9D12-0BC73DF8F425}" destId="{1724F629-1B38-4D19-91C8-5CAA9BA20EAB}" srcOrd="0" destOrd="0" presId="urn:microsoft.com/office/officeart/2005/8/layout/process3"/>
    <dgm:cxn modelId="{35C03488-B438-494F-B928-7CDC55D13401}" type="presParOf" srcId="{A22F3033-45B0-4306-9D12-0BC73DF8F425}" destId="{BB3D32D9-DE66-4B3F-8F49-BCB8773B43FD}" srcOrd="1" destOrd="0" presId="urn:microsoft.com/office/officeart/2005/8/layout/process3"/>
    <dgm:cxn modelId="{B7E1DAD8-9048-4559-B03B-208229C80830}" type="presParOf" srcId="{A22F3033-45B0-4306-9D12-0BC73DF8F425}" destId="{FD7716D6-4DE7-4A73-89EA-24ABAA7EC8BA}" srcOrd="2" destOrd="0" presId="urn:microsoft.com/office/officeart/2005/8/layout/process3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DCB7EFCD-20FB-4C3E-961C-45714A5B0DF1}" type="doc">
      <dgm:prSet loTypeId="urn:microsoft.com/office/officeart/2005/8/layout/process4" loCatId="process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s-CL"/>
        </a:p>
      </dgm:t>
    </dgm:pt>
    <dgm:pt modelId="{58724D89-ED5E-412B-B2AE-B69E286F67B3}">
      <dgm:prSet phldrT="[Texto]"/>
      <dgm:spPr/>
      <dgm:t>
        <a:bodyPr/>
        <a:lstStyle/>
        <a:p>
          <a:r>
            <a:rPr lang="es-CL" dirty="0" smtClean="0"/>
            <a:t>Conformación Comité de Aplicación</a:t>
          </a:r>
          <a:endParaRPr lang="es-CL" dirty="0"/>
        </a:p>
      </dgm:t>
    </dgm:pt>
    <dgm:pt modelId="{E3F7C515-4776-45D3-8BD3-74868FC44F4E}" type="parTrans" cxnId="{A4DE90FF-8146-4EC0-A680-03B2E0925B37}">
      <dgm:prSet/>
      <dgm:spPr/>
      <dgm:t>
        <a:bodyPr/>
        <a:lstStyle/>
        <a:p>
          <a:endParaRPr lang="es-CL"/>
        </a:p>
      </dgm:t>
    </dgm:pt>
    <dgm:pt modelId="{38AB3B0D-04E0-48BE-8DBB-4F1D9438CDC4}" type="sibTrans" cxnId="{A4DE90FF-8146-4EC0-A680-03B2E0925B37}">
      <dgm:prSet/>
      <dgm:spPr/>
      <dgm:t>
        <a:bodyPr/>
        <a:lstStyle/>
        <a:p>
          <a:endParaRPr lang="es-CL"/>
        </a:p>
      </dgm:t>
    </dgm:pt>
    <dgm:pt modelId="{3D322303-92F2-4FD5-B60B-16D0BB8F9B2C}">
      <dgm:prSet phldrT="[Texto]"/>
      <dgm:spPr/>
      <dgm:t>
        <a:bodyPr/>
        <a:lstStyle/>
        <a:p>
          <a:r>
            <a:rPr lang="es-CL" dirty="0" smtClean="0"/>
            <a:t>Una parte del empleador y otro de los trabajadores.</a:t>
          </a:r>
          <a:endParaRPr lang="es-CL" dirty="0"/>
        </a:p>
      </dgm:t>
    </dgm:pt>
    <dgm:pt modelId="{0E720F4A-D3E4-429E-BA28-8056FCE7E18D}" type="parTrans" cxnId="{5EAF40FD-880B-48B6-9EBB-A6005310DF45}">
      <dgm:prSet/>
      <dgm:spPr/>
      <dgm:t>
        <a:bodyPr/>
        <a:lstStyle/>
        <a:p>
          <a:endParaRPr lang="es-CL"/>
        </a:p>
      </dgm:t>
    </dgm:pt>
    <dgm:pt modelId="{47887703-C0A7-4C4B-A9D2-978C2332579E}" type="sibTrans" cxnId="{5EAF40FD-880B-48B6-9EBB-A6005310DF45}">
      <dgm:prSet/>
      <dgm:spPr/>
      <dgm:t>
        <a:bodyPr/>
        <a:lstStyle/>
        <a:p>
          <a:endParaRPr lang="es-CL"/>
        </a:p>
      </dgm:t>
    </dgm:pt>
    <dgm:pt modelId="{68873BD8-12FC-41BA-B59B-F1E02614966F}">
      <dgm:prSet phldrT="[Texto]"/>
      <dgm:spPr/>
      <dgm:t>
        <a:bodyPr/>
        <a:lstStyle/>
        <a:p>
          <a:r>
            <a:rPr lang="es-CL" dirty="0" smtClean="0"/>
            <a:t>Van a implementar el programa de vigilancia.</a:t>
          </a:r>
          <a:endParaRPr lang="es-CL" dirty="0"/>
        </a:p>
      </dgm:t>
    </dgm:pt>
    <dgm:pt modelId="{82ECBBD7-DDF1-4EEF-8F57-7452D589DFE9}" type="parTrans" cxnId="{21D3362A-B2FB-4B05-90E4-A61016F3850A}">
      <dgm:prSet/>
      <dgm:spPr/>
      <dgm:t>
        <a:bodyPr/>
        <a:lstStyle/>
        <a:p>
          <a:endParaRPr lang="es-CL"/>
        </a:p>
      </dgm:t>
    </dgm:pt>
    <dgm:pt modelId="{1639B89F-779F-461C-9D73-A4F43A231D7C}" type="sibTrans" cxnId="{21D3362A-B2FB-4B05-90E4-A61016F3850A}">
      <dgm:prSet/>
      <dgm:spPr/>
      <dgm:t>
        <a:bodyPr/>
        <a:lstStyle/>
        <a:p>
          <a:endParaRPr lang="es-CL"/>
        </a:p>
      </dgm:t>
    </dgm:pt>
    <dgm:pt modelId="{EF3EC153-CAB6-4B68-BACD-D9FE42995A92}">
      <dgm:prSet phldrT="[Texto]"/>
      <dgm:spPr/>
      <dgm:t>
        <a:bodyPr/>
        <a:lstStyle/>
        <a:p>
          <a:r>
            <a:rPr lang="es-CL" dirty="0" smtClean="0"/>
            <a:t>Sensibilización</a:t>
          </a:r>
          <a:endParaRPr lang="es-CL" dirty="0"/>
        </a:p>
      </dgm:t>
    </dgm:pt>
    <dgm:pt modelId="{46FB01C6-FAB1-471C-BFFD-CD31D0770DE0}" type="parTrans" cxnId="{697F5727-A518-4E1A-B39C-8EB82715B1D0}">
      <dgm:prSet/>
      <dgm:spPr/>
      <dgm:t>
        <a:bodyPr/>
        <a:lstStyle/>
        <a:p>
          <a:endParaRPr lang="es-CL"/>
        </a:p>
      </dgm:t>
    </dgm:pt>
    <dgm:pt modelId="{65FB3922-6795-4D48-B411-805D5F0BCA22}" type="sibTrans" cxnId="{697F5727-A518-4E1A-B39C-8EB82715B1D0}">
      <dgm:prSet/>
      <dgm:spPr/>
      <dgm:t>
        <a:bodyPr/>
        <a:lstStyle/>
        <a:p>
          <a:endParaRPr lang="es-CL"/>
        </a:p>
      </dgm:t>
    </dgm:pt>
    <dgm:pt modelId="{B71504ED-C2C0-46D2-A51A-2BD4A4F432A9}">
      <dgm:prSet phldrT="[Texto]"/>
      <dgm:spPr/>
      <dgm:t>
        <a:bodyPr/>
        <a:lstStyle/>
        <a:p>
          <a:r>
            <a:rPr lang="es-CL" dirty="0" smtClean="0"/>
            <a:t>Informar a los trabajadores  sobre el programa de vigilancia y sus pasos a seguir. </a:t>
          </a:r>
          <a:endParaRPr lang="es-CL" dirty="0"/>
        </a:p>
      </dgm:t>
    </dgm:pt>
    <dgm:pt modelId="{4A9157D6-85C0-421C-9B82-79D4B825E64A}" type="parTrans" cxnId="{ADDD4BD7-72F9-4C8D-8CAF-ED0570351EDE}">
      <dgm:prSet/>
      <dgm:spPr/>
      <dgm:t>
        <a:bodyPr/>
        <a:lstStyle/>
        <a:p>
          <a:endParaRPr lang="es-CL"/>
        </a:p>
      </dgm:t>
    </dgm:pt>
    <dgm:pt modelId="{F5B9BB8C-652E-47A3-B298-BFF16D32EBFC}" type="sibTrans" cxnId="{ADDD4BD7-72F9-4C8D-8CAF-ED0570351EDE}">
      <dgm:prSet/>
      <dgm:spPr/>
      <dgm:t>
        <a:bodyPr/>
        <a:lstStyle/>
        <a:p>
          <a:endParaRPr lang="es-CL"/>
        </a:p>
      </dgm:t>
    </dgm:pt>
    <dgm:pt modelId="{6851D55F-BF19-4863-902B-27696634EE18}">
      <dgm:prSet phldrT="[Texto]"/>
      <dgm:spPr/>
      <dgm:t>
        <a:bodyPr/>
        <a:lstStyle/>
        <a:p>
          <a:r>
            <a:rPr lang="es-CL" dirty="0" smtClean="0"/>
            <a:t>Cuestionario CEAL-SM SUSESO</a:t>
          </a:r>
          <a:endParaRPr lang="es-CL" dirty="0"/>
        </a:p>
      </dgm:t>
    </dgm:pt>
    <dgm:pt modelId="{59293E03-DF2A-463B-ACF8-EE738B354B7E}" type="parTrans" cxnId="{E434276A-9B2D-443D-84C0-E644142250C4}">
      <dgm:prSet/>
      <dgm:spPr/>
      <dgm:t>
        <a:bodyPr/>
        <a:lstStyle/>
        <a:p>
          <a:endParaRPr lang="es-CL"/>
        </a:p>
      </dgm:t>
    </dgm:pt>
    <dgm:pt modelId="{5F9B0F36-22A8-4F18-ACD4-D15B6C1307FE}" type="sibTrans" cxnId="{E434276A-9B2D-443D-84C0-E644142250C4}">
      <dgm:prSet/>
      <dgm:spPr/>
      <dgm:t>
        <a:bodyPr/>
        <a:lstStyle/>
        <a:p>
          <a:endParaRPr lang="es-CL"/>
        </a:p>
      </dgm:t>
    </dgm:pt>
    <dgm:pt modelId="{56C4F466-76CC-4BD6-B7EA-436044949187}">
      <dgm:prSet phldrT="[Texto]"/>
      <dgm:spPr/>
      <dgm:t>
        <a:bodyPr/>
        <a:lstStyle/>
        <a:p>
          <a:r>
            <a:rPr lang="es-CL" dirty="0" smtClean="0"/>
            <a:t>Aplican el cuestionario </a:t>
          </a:r>
          <a:r>
            <a:rPr lang="es-CL" dirty="0" err="1" smtClean="0"/>
            <a:t>on</a:t>
          </a:r>
          <a:r>
            <a:rPr lang="es-CL" dirty="0" smtClean="0"/>
            <a:t> line</a:t>
          </a:r>
          <a:endParaRPr lang="es-CL" dirty="0"/>
        </a:p>
      </dgm:t>
    </dgm:pt>
    <dgm:pt modelId="{C513DDD7-D05D-4476-9799-842B5A8548D0}" type="parTrans" cxnId="{67022581-0827-4B48-B00E-B4784AEAA592}">
      <dgm:prSet/>
      <dgm:spPr/>
      <dgm:t>
        <a:bodyPr/>
        <a:lstStyle/>
        <a:p>
          <a:endParaRPr lang="es-CL"/>
        </a:p>
      </dgm:t>
    </dgm:pt>
    <dgm:pt modelId="{B4321008-1C4C-4D0B-8FE8-4895A1C969AE}" type="sibTrans" cxnId="{67022581-0827-4B48-B00E-B4784AEAA592}">
      <dgm:prSet/>
      <dgm:spPr/>
      <dgm:t>
        <a:bodyPr/>
        <a:lstStyle/>
        <a:p>
          <a:endParaRPr lang="es-CL"/>
        </a:p>
      </dgm:t>
    </dgm:pt>
    <dgm:pt modelId="{B23A1105-2F53-48B6-9870-52B3D4A7133A}">
      <dgm:prSet phldrT="[Texto]"/>
      <dgm:spPr/>
      <dgm:t>
        <a:bodyPr/>
        <a:lstStyle/>
        <a:p>
          <a:r>
            <a:rPr lang="es-CL" dirty="0" smtClean="0"/>
            <a:t>Revisión de resultados.</a:t>
          </a:r>
          <a:endParaRPr lang="es-CL" dirty="0"/>
        </a:p>
      </dgm:t>
    </dgm:pt>
    <dgm:pt modelId="{EDA992E0-4478-4049-BB63-D3AD729E4AA7}" type="parTrans" cxnId="{1094E8CA-D71A-4BCA-ADA6-424A712D131C}">
      <dgm:prSet/>
      <dgm:spPr/>
      <dgm:t>
        <a:bodyPr/>
        <a:lstStyle/>
        <a:p>
          <a:endParaRPr lang="es-CL"/>
        </a:p>
      </dgm:t>
    </dgm:pt>
    <dgm:pt modelId="{5501A5D2-9082-4D32-9A8D-BE5E968EF921}" type="sibTrans" cxnId="{1094E8CA-D71A-4BCA-ADA6-424A712D131C}">
      <dgm:prSet/>
      <dgm:spPr/>
      <dgm:t>
        <a:bodyPr/>
        <a:lstStyle/>
        <a:p>
          <a:endParaRPr lang="es-CL"/>
        </a:p>
      </dgm:t>
    </dgm:pt>
    <dgm:pt modelId="{4FDDD0BD-E184-4E69-AFE0-988E58DD7079}">
      <dgm:prSet/>
      <dgm:spPr/>
      <dgm:t>
        <a:bodyPr/>
        <a:lstStyle/>
        <a:p>
          <a:r>
            <a:rPr lang="es-CL" dirty="0" smtClean="0"/>
            <a:t>Conversación de los resultados de la encuesta con 8 trabajadores y psicóloga ACHS</a:t>
          </a:r>
          <a:endParaRPr lang="es-CL" dirty="0"/>
        </a:p>
      </dgm:t>
    </dgm:pt>
    <dgm:pt modelId="{38197FC7-6A34-4B57-A053-CA4316CB6F20}" type="parTrans" cxnId="{484BFE37-9426-4310-8E4A-4EF14DAF7010}">
      <dgm:prSet/>
      <dgm:spPr/>
      <dgm:t>
        <a:bodyPr/>
        <a:lstStyle/>
        <a:p>
          <a:endParaRPr lang="es-CL"/>
        </a:p>
      </dgm:t>
    </dgm:pt>
    <dgm:pt modelId="{58B6E748-27AC-46D0-AE23-52DAE65FEEEA}" type="sibTrans" cxnId="{484BFE37-9426-4310-8E4A-4EF14DAF7010}">
      <dgm:prSet/>
      <dgm:spPr/>
      <dgm:t>
        <a:bodyPr/>
        <a:lstStyle/>
        <a:p>
          <a:endParaRPr lang="es-CL"/>
        </a:p>
      </dgm:t>
    </dgm:pt>
    <dgm:pt modelId="{DB5EC229-D4D1-4E12-AB45-F70597764FB4}">
      <dgm:prSet/>
      <dgm:spPr/>
      <dgm:t>
        <a:bodyPr/>
        <a:lstStyle/>
        <a:p>
          <a:r>
            <a:rPr lang="es-CL" dirty="0" smtClean="0"/>
            <a:t>Grupo de discusión </a:t>
          </a:r>
          <a:endParaRPr lang="es-CL" dirty="0"/>
        </a:p>
      </dgm:t>
    </dgm:pt>
    <dgm:pt modelId="{3DD9106A-8749-4245-B527-C94E87FD5CFF}" type="parTrans" cxnId="{C8BBE6A6-AFB8-4DBC-A173-F11854274D08}">
      <dgm:prSet/>
      <dgm:spPr/>
      <dgm:t>
        <a:bodyPr/>
        <a:lstStyle/>
        <a:p>
          <a:endParaRPr lang="es-CL"/>
        </a:p>
      </dgm:t>
    </dgm:pt>
    <dgm:pt modelId="{871014DB-B36A-45E1-AAC5-023D842366FE}" type="sibTrans" cxnId="{C8BBE6A6-AFB8-4DBC-A173-F11854274D08}">
      <dgm:prSet/>
      <dgm:spPr/>
      <dgm:t>
        <a:bodyPr/>
        <a:lstStyle/>
        <a:p>
          <a:endParaRPr lang="es-CL"/>
        </a:p>
      </dgm:t>
    </dgm:pt>
    <dgm:pt modelId="{18CF3610-ED0F-42C9-9E6E-6D3FB14E3E18}">
      <dgm:prSet/>
      <dgm:spPr/>
      <dgm:t>
        <a:bodyPr/>
        <a:lstStyle/>
        <a:p>
          <a:r>
            <a:rPr lang="es-CL" dirty="0" smtClean="0"/>
            <a:t>Psicóloga ACHS entrega informe de medidas que serán conversadas con el comité de aplicación.</a:t>
          </a:r>
          <a:endParaRPr lang="es-CL" dirty="0"/>
        </a:p>
      </dgm:t>
    </dgm:pt>
    <dgm:pt modelId="{0103B57A-BFC1-462C-A799-E021523B1CFB}" type="parTrans" cxnId="{9E87756E-21B7-4B45-93D6-E4A1A1BFE451}">
      <dgm:prSet/>
      <dgm:spPr/>
      <dgm:t>
        <a:bodyPr/>
        <a:lstStyle/>
        <a:p>
          <a:endParaRPr lang="es-CL"/>
        </a:p>
      </dgm:t>
    </dgm:pt>
    <dgm:pt modelId="{F1C781A5-E118-492A-B039-33B0249D69D5}" type="sibTrans" cxnId="{9E87756E-21B7-4B45-93D6-E4A1A1BFE451}">
      <dgm:prSet/>
      <dgm:spPr/>
      <dgm:t>
        <a:bodyPr/>
        <a:lstStyle/>
        <a:p>
          <a:endParaRPr lang="es-CL"/>
        </a:p>
      </dgm:t>
    </dgm:pt>
    <dgm:pt modelId="{5B5735B5-17A9-4A2C-92D0-8F86F392814C}">
      <dgm:prSet/>
      <dgm:spPr/>
      <dgm:t>
        <a:bodyPr/>
        <a:lstStyle/>
        <a:p>
          <a:r>
            <a:rPr lang="es-CL" dirty="0" smtClean="0"/>
            <a:t>Entrega </a:t>
          </a:r>
          <a:r>
            <a:rPr lang="es-CL" smtClean="0"/>
            <a:t>de medidas</a:t>
          </a:r>
          <a:endParaRPr lang="es-CL" dirty="0"/>
        </a:p>
      </dgm:t>
    </dgm:pt>
    <dgm:pt modelId="{B18B2AA5-3008-40BC-AA5B-E476783B6DA1}" type="parTrans" cxnId="{B09A0242-3AFB-40AB-A036-2E24C6732C2A}">
      <dgm:prSet/>
      <dgm:spPr/>
      <dgm:t>
        <a:bodyPr/>
        <a:lstStyle/>
        <a:p>
          <a:endParaRPr lang="es-CL"/>
        </a:p>
      </dgm:t>
    </dgm:pt>
    <dgm:pt modelId="{72F2396B-D950-4988-8CFA-A9B4FB52D87C}" type="sibTrans" cxnId="{B09A0242-3AFB-40AB-A036-2E24C6732C2A}">
      <dgm:prSet/>
      <dgm:spPr/>
      <dgm:t>
        <a:bodyPr/>
        <a:lstStyle/>
        <a:p>
          <a:endParaRPr lang="es-CL"/>
        </a:p>
      </dgm:t>
    </dgm:pt>
    <dgm:pt modelId="{1DE6E360-C765-4B39-BF02-E62BF0C8D3DE}" type="pres">
      <dgm:prSet presAssocID="{DCB7EFCD-20FB-4C3E-961C-45714A5B0DF1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L"/>
        </a:p>
      </dgm:t>
    </dgm:pt>
    <dgm:pt modelId="{16C4FB28-9205-4745-B474-D2979E9EB8B2}" type="pres">
      <dgm:prSet presAssocID="{5B5735B5-17A9-4A2C-92D0-8F86F392814C}" presName="boxAndChildren" presStyleCnt="0"/>
      <dgm:spPr/>
    </dgm:pt>
    <dgm:pt modelId="{F2E6C474-6B48-4F12-984C-3115F2152963}" type="pres">
      <dgm:prSet presAssocID="{5B5735B5-17A9-4A2C-92D0-8F86F392814C}" presName="parentTextBox" presStyleLbl="node1" presStyleIdx="0" presStyleCnt="5"/>
      <dgm:spPr/>
      <dgm:t>
        <a:bodyPr/>
        <a:lstStyle/>
        <a:p>
          <a:endParaRPr lang="es-CL"/>
        </a:p>
      </dgm:t>
    </dgm:pt>
    <dgm:pt modelId="{65214796-2B60-4846-A7D0-3555559E4D9D}" type="pres">
      <dgm:prSet presAssocID="{5B5735B5-17A9-4A2C-92D0-8F86F392814C}" presName="entireBox" presStyleLbl="node1" presStyleIdx="0" presStyleCnt="5"/>
      <dgm:spPr/>
      <dgm:t>
        <a:bodyPr/>
        <a:lstStyle/>
        <a:p>
          <a:endParaRPr lang="es-CL"/>
        </a:p>
      </dgm:t>
    </dgm:pt>
    <dgm:pt modelId="{F841112D-5800-488F-B25D-F3BC641F1DDE}" type="pres">
      <dgm:prSet presAssocID="{5B5735B5-17A9-4A2C-92D0-8F86F392814C}" presName="descendantBox" presStyleCnt="0"/>
      <dgm:spPr/>
    </dgm:pt>
    <dgm:pt modelId="{3CFD61B5-3EFA-4760-BBDC-AC5E67E0D6B2}" type="pres">
      <dgm:prSet presAssocID="{18CF3610-ED0F-42C9-9E6E-6D3FB14E3E18}" presName="childTextBox" presStyleLbl="fgAccFollowNode1" presStyleIdx="0" presStyleCnt="7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63366071-7A08-4972-8B60-2162B5BCD9C2}" type="pres">
      <dgm:prSet presAssocID="{871014DB-B36A-45E1-AAC5-023D842366FE}" presName="sp" presStyleCnt="0"/>
      <dgm:spPr/>
    </dgm:pt>
    <dgm:pt modelId="{7E2F25BA-E95B-464A-AAE5-5413B7102036}" type="pres">
      <dgm:prSet presAssocID="{DB5EC229-D4D1-4E12-AB45-F70597764FB4}" presName="arrowAndChildren" presStyleCnt="0"/>
      <dgm:spPr/>
    </dgm:pt>
    <dgm:pt modelId="{4DA7B31A-3E0F-4A19-A546-EDE57A9C3762}" type="pres">
      <dgm:prSet presAssocID="{DB5EC229-D4D1-4E12-AB45-F70597764FB4}" presName="parentTextArrow" presStyleLbl="node1" presStyleIdx="0" presStyleCnt="5"/>
      <dgm:spPr/>
      <dgm:t>
        <a:bodyPr/>
        <a:lstStyle/>
        <a:p>
          <a:endParaRPr lang="es-CL"/>
        </a:p>
      </dgm:t>
    </dgm:pt>
    <dgm:pt modelId="{E4256D83-2E79-4BED-96A4-B23C15E1380E}" type="pres">
      <dgm:prSet presAssocID="{DB5EC229-D4D1-4E12-AB45-F70597764FB4}" presName="arrow" presStyleLbl="node1" presStyleIdx="1" presStyleCnt="5"/>
      <dgm:spPr/>
      <dgm:t>
        <a:bodyPr/>
        <a:lstStyle/>
        <a:p>
          <a:endParaRPr lang="es-CL"/>
        </a:p>
      </dgm:t>
    </dgm:pt>
    <dgm:pt modelId="{5F802FEA-B883-4044-9FF8-D8F57A222D08}" type="pres">
      <dgm:prSet presAssocID="{DB5EC229-D4D1-4E12-AB45-F70597764FB4}" presName="descendantArrow" presStyleCnt="0"/>
      <dgm:spPr/>
    </dgm:pt>
    <dgm:pt modelId="{A1FC85C2-B458-4F47-A59C-5EE78B25360F}" type="pres">
      <dgm:prSet presAssocID="{4FDDD0BD-E184-4E69-AFE0-988E58DD7079}" presName="childTextArrow" presStyleLbl="fgAccFollowNode1" presStyleIdx="1" presStyleCnt="7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3A761AA5-5114-4FCD-8BDE-17BAE96C19C8}" type="pres">
      <dgm:prSet presAssocID="{5F9B0F36-22A8-4F18-ACD4-D15B6C1307FE}" presName="sp" presStyleCnt="0"/>
      <dgm:spPr/>
    </dgm:pt>
    <dgm:pt modelId="{83EEEFA1-84B7-46C6-BA1E-F746A3D1906E}" type="pres">
      <dgm:prSet presAssocID="{6851D55F-BF19-4863-902B-27696634EE18}" presName="arrowAndChildren" presStyleCnt="0"/>
      <dgm:spPr/>
    </dgm:pt>
    <dgm:pt modelId="{CA69BBC5-2C78-40B6-8B01-EAAC84BDE957}" type="pres">
      <dgm:prSet presAssocID="{6851D55F-BF19-4863-902B-27696634EE18}" presName="parentTextArrow" presStyleLbl="node1" presStyleIdx="1" presStyleCnt="5"/>
      <dgm:spPr/>
      <dgm:t>
        <a:bodyPr/>
        <a:lstStyle/>
        <a:p>
          <a:endParaRPr lang="es-CL"/>
        </a:p>
      </dgm:t>
    </dgm:pt>
    <dgm:pt modelId="{6E99A9F5-20C5-4A62-A208-8B0686054B33}" type="pres">
      <dgm:prSet presAssocID="{6851D55F-BF19-4863-902B-27696634EE18}" presName="arrow" presStyleLbl="node1" presStyleIdx="2" presStyleCnt="5"/>
      <dgm:spPr/>
      <dgm:t>
        <a:bodyPr/>
        <a:lstStyle/>
        <a:p>
          <a:endParaRPr lang="es-CL"/>
        </a:p>
      </dgm:t>
    </dgm:pt>
    <dgm:pt modelId="{B53B16CF-EE07-4DF7-A823-69C0D0DC2F22}" type="pres">
      <dgm:prSet presAssocID="{6851D55F-BF19-4863-902B-27696634EE18}" presName="descendantArrow" presStyleCnt="0"/>
      <dgm:spPr/>
    </dgm:pt>
    <dgm:pt modelId="{F9551F03-F9E5-47AB-9AE0-A332E7FBA389}" type="pres">
      <dgm:prSet presAssocID="{56C4F466-76CC-4BD6-B7EA-436044949187}" presName="childTextArrow" presStyleLbl="fgAccFollowNode1" presStyleIdx="2" presStyleCnt="7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AC70717C-6395-4381-9371-FEAEBDB8B1C5}" type="pres">
      <dgm:prSet presAssocID="{B23A1105-2F53-48B6-9870-52B3D4A7133A}" presName="childTextArrow" presStyleLbl="fgAccFollowNode1" presStyleIdx="3" presStyleCnt="7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15BA3036-29A7-4E1F-ACA6-E459C192766F}" type="pres">
      <dgm:prSet presAssocID="{65FB3922-6795-4D48-B411-805D5F0BCA22}" presName="sp" presStyleCnt="0"/>
      <dgm:spPr/>
    </dgm:pt>
    <dgm:pt modelId="{C683CD07-B3B1-4301-B18F-205DED5B41B3}" type="pres">
      <dgm:prSet presAssocID="{EF3EC153-CAB6-4B68-BACD-D9FE42995A92}" presName="arrowAndChildren" presStyleCnt="0"/>
      <dgm:spPr/>
    </dgm:pt>
    <dgm:pt modelId="{A88D5B98-AF89-4C3D-8BB6-5B1EC41ADC3D}" type="pres">
      <dgm:prSet presAssocID="{EF3EC153-CAB6-4B68-BACD-D9FE42995A92}" presName="parentTextArrow" presStyleLbl="node1" presStyleIdx="2" presStyleCnt="5"/>
      <dgm:spPr/>
      <dgm:t>
        <a:bodyPr/>
        <a:lstStyle/>
        <a:p>
          <a:endParaRPr lang="es-CL"/>
        </a:p>
      </dgm:t>
    </dgm:pt>
    <dgm:pt modelId="{4760A90A-FE61-45A0-8C13-50265DE41843}" type="pres">
      <dgm:prSet presAssocID="{EF3EC153-CAB6-4B68-BACD-D9FE42995A92}" presName="arrow" presStyleLbl="node1" presStyleIdx="3" presStyleCnt="5"/>
      <dgm:spPr/>
      <dgm:t>
        <a:bodyPr/>
        <a:lstStyle/>
        <a:p>
          <a:endParaRPr lang="es-CL"/>
        </a:p>
      </dgm:t>
    </dgm:pt>
    <dgm:pt modelId="{A4F68284-0C57-4153-A91C-ED065EFB7A00}" type="pres">
      <dgm:prSet presAssocID="{EF3EC153-CAB6-4B68-BACD-D9FE42995A92}" presName="descendantArrow" presStyleCnt="0"/>
      <dgm:spPr/>
    </dgm:pt>
    <dgm:pt modelId="{F577C4A1-2C76-4BC6-A16B-DC8C2DAE7E0B}" type="pres">
      <dgm:prSet presAssocID="{B71504ED-C2C0-46D2-A51A-2BD4A4F432A9}" presName="childTextArrow" presStyleLbl="fgAccFollowNode1" presStyleIdx="4" presStyleCnt="7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7C09E047-39EA-47D6-8685-35EEF4D26C70}" type="pres">
      <dgm:prSet presAssocID="{38AB3B0D-04E0-48BE-8DBB-4F1D9438CDC4}" presName="sp" presStyleCnt="0"/>
      <dgm:spPr/>
    </dgm:pt>
    <dgm:pt modelId="{D517EC02-9347-43DE-97AC-D049AA99217B}" type="pres">
      <dgm:prSet presAssocID="{58724D89-ED5E-412B-B2AE-B69E286F67B3}" presName="arrowAndChildren" presStyleCnt="0"/>
      <dgm:spPr/>
    </dgm:pt>
    <dgm:pt modelId="{2C01C767-686C-4695-A9BA-15C724E6788F}" type="pres">
      <dgm:prSet presAssocID="{58724D89-ED5E-412B-B2AE-B69E286F67B3}" presName="parentTextArrow" presStyleLbl="node1" presStyleIdx="3" presStyleCnt="5"/>
      <dgm:spPr/>
      <dgm:t>
        <a:bodyPr/>
        <a:lstStyle/>
        <a:p>
          <a:endParaRPr lang="es-CL"/>
        </a:p>
      </dgm:t>
    </dgm:pt>
    <dgm:pt modelId="{4A528BCA-7956-4309-A83D-0B788BE419FE}" type="pres">
      <dgm:prSet presAssocID="{58724D89-ED5E-412B-B2AE-B69E286F67B3}" presName="arrow" presStyleLbl="node1" presStyleIdx="4" presStyleCnt="5"/>
      <dgm:spPr/>
      <dgm:t>
        <a:bodyPr/>
        <a:lstStyle/>
        <a:p>
          <a:endParaRPr lang="es-CL"/>
        </a:p>
      </dgm:t>
    </dgm:pt>
    <dgm:pt modelId="{B1FD1FB3-2CF5-49A1-BACF-8F85EFB906AB}" type="pres">
      <dgm:prSet presAssocID="{58724D89-ED5E-412B-B2AE-B69E286F67B3}" presName="descendantArrow" presStyleCnt="0"/>
      <dgm:spPr/>
    </dgm:pt>
    <dgm:pt modelId="{06057222-1AB9-4FDA-B9C3-FA3FDFE96991}" type="pres">
      <dgm:prSet presAssocID="{3D322303-92F2-4FD5-B60B-16D0BB8F9B2C}" presName="childTextArrow" presStyleLbl="fgAccFollowNode1" presStyleIdx="5" presStyleCnt="7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F4A6AA83-65B1-4A0D-8F71-575259ECD2DB}" type="pres">
      <dgm:prSet presAssocID="{68873BD8-12FC-41BA-B59B-F1E02614966F}" presName="childTextArrow" presStyleLbl="fgAccFollowNode1" presStyleIdx="6" presStyleCnt="7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</dgm:ptLst>
  <dgm:cxnLst>
    <dgm:cxn modelId="{7F97FE4C-2E69-4351-AF76-5D732F4F95EA}" type="presOf" srcId="{DB5EC229-D4D1-4E12-AB45-F70597764FB4}" destId="{4DA7B31A-3E0F-4A19-A546-EDE57A9C3762}" srcOrd="0" destOrd="0" presId="urn:microsoft.com/office/officeart/2005/8/layout/process4"/>
    <dgm:cxn modelId="{8259151A-E82C-4489-BB7B-F1EC04854496}" type="presOf" srcId="{DCB7EFCD-20FB-4C3E-961C-45714A5B0DF1}" destId="{1DE6E360-C765-4B39-BF02-E62BF0C8D3DE}" srcOrd="0" destOrd="0" presId="urn:microsoft.com/office/officeart/2005/8/layout/process4"/>
    <dgm:cxn modelId="{BFF805B3-B726-43C0-BC29-E2BE40FA4434}" type="presOf" srcId="{B71504ED-C2C0-46D2-A51A-2BD4A4F432A9}" destId="{F577C4A1-2C76-4BC6-A16B-DC8C2DAE7E0B}" srcOrd="0" destOrd="0" presId="urn:microsoft.com/office/officeart/2005/8/layout/process4"/>
    <dgm:cxn modelId="{6A1C0209-A041-457F-BECE-1AEE76DDA6DD}" type="presOf" srcId="{5B5735B5-17A9-4A2C-92D0-8F86F392814C}" destId="{65214796-2B60-4846-A7D0-3555559E4D9D}" srcOrd="1" destOrd="0" presId="urn:microsoft.com/office/officeart/2005/8/layout/process4"/>
    <dgm:cxn modelId="{ADDD4BD7-72F9-4C8D-8CAF-ED0570351EDE}" srcId="{EF3EC153-CAB6-4B68-BACD-D9FE42995A92}" destId="{B71504ED-C2C0-46D2-A51A-2BD4A4F432A9}" srcOrd="0" destOrd="0" parTransId="{4A9157D6-85C0-421C-9B82-79D4B825E64A}" sibTransId="{F5B9BB8C-652E-47A3-B298-BFF16D32EBFC}"/>
    <dgm:cxn modelId="{A4DE90FF-8146-4EC0-A680-03B2E0925B37}" srcId="{DCB7EFCD-20FB-4C3E-961C-45714A5B0DF1}" destId="{58724D89-ED5E-412B-B2AE-B69E286F67B3}" srcOrd="0" destOrd="0" parTransId="{E3F7C515-4776-45D3-8BD3-74868FC44F4E}" sibTransId="{38AB3B0D-04E0-48BE-8DBB-4F1D9438CDC4}"/>
    <dgm:cxn modelId="{21D3362A-B2FB-4B05-90E4-A61016F3850A}" srcId="{58724D89-ED5E-412B-B2AE-B69E286F67B3}" destId="{68873BD8-12FC-41BA-B59B-F1E02614966F}" srcOrd="1" destOrd="0" parTransId="{82ECBBD7-DDF1-4EEF-8F57-7452D589DFE9}" sibTransId="{1639B89F-779F-461C-9D73-A4F43A231D7C}"/>
    <dgm:cxn modelId="{9E87756E-21B7-4B45-93D6-E4A1A1BFE451}" srcId="{5B5735B5-17A9-4A2C-92D0-8F86F392814C}" destId="{18CF3610-ED0F-42C9-9E6E-6D3FB14E3E18}" srcOrd="0" destOrd="0" parTransId="{0103B57A-BFC1-462C-A799-E021523B1CFB}" sibTransId="{F1C781A5-E118-492A-B039-33B0249D69D5}"/>
    <dgm:cxn modelId="{A253332A-374D-49C9-9D68-CA34E7983FDA}" type="presOf" srcId="{58724D89-ED5E-412B-B2AE-B69E286F67B3}" destId="{4A528BCA-7956-4309-A83D-0B788BE419FE}" srcOrd="1" destOrd="0" presId="urn:microsoft.com/office/officeart/2005/8/layout/process4"/>
    <dgm:cxn modelId="{697F5727-A518-4E1A-B39C-8EB82715B1D0}" srcId="{DCB7EFCD-20FB-4C3E-961C-45714A5B0DF1}" destId="{EF3EC153-CAB6-4B68-BACD-D9FE42995A92}" srcOrd="1" destOrd="0" parTransId="{46FB01C6-FAB1-471C-BFFD-CD31D0770DE0}" sibTransId="{65FB3922-6795-4D48-B411-805D5F0BCA22}"/>
    <dgm:cxn modelId="{B09A0242-3AFB-40AB-A036-2E24C6732C2A}" srcId="{DCB7EFCD-20FB-4C3E-961C-45714A5B0DF1}" destId="{5B5735B5-17A9-4A2C-92D0-8F86F392814C}" srcOrd="4" destOrd="0" parTransId="{B18B2AA5-3008-40BC-AA5B-E476783B6DA1}" sibTransId="{72F2396B-D950-4988-8CFA-A9B4FB52D87C}"/>
    <dgm:cxn modelId="{B2DBB8EC-9645-4C6A-9329-0ACA814061F4}" type="presOf" srcId="{56C4F466-76CC-4BD6-B7EA-436044949187}" destId="{F9551F03-F9E5-47AB-9AE0-A332E7FBA389}" srcOrd="0" destOrd="0" presId="urn:microsoft.com/office/officeart/2005/8/layout/process4"/>
    <dgm:cxn modelId="{67022581-0827-4B48-B00E-B4784AEAA592}" srcId="{6851D55F-BF19-4863-902B-27696634EE18}" destId="{56C4F466-76CC-4BD6-B7EA-436044949187}" srcOrd="0" destOrd="0" parTransId="{C513DDD7-D05D-4476-9799-842B5A8548D0}" sibTransId="{B4321008-1C4C-4D0B-8FE8-4895A1C969AE}"/>
    <dgm:cxn modelId="{5EAF40FD-880B-48B6-9EBB-A6005310DF45}" srcId="{58724D89-ED5E-412B-B2AE-B69E286F67B3}" destId="{3D322303-92F2-4FD5-B60B-16D0BB8F9B2C}" srcOrd="0" destOrd="0" parTransId="{0E720F4A-D3E4-429E-BA28-8056FCE7E18D}" sibTransId="{47887703-C0A7-4C4B-A9D2-978C2332579E}"/>
    <dgm:cxn modelId="{00101626-0743-4103-8F85-ED50EDF642B7}" type="presOf" srcId="{18CF3610-ED0F-42C9-9E6E-6D3FB14E3E18}" destId="{3CFD61B5-3EFA-4760-BBDC-AC5E67E0D6B2}" srcOrd="0" destOrd="0" presId="urn:microsoft.com/office/officeart/2005/8/layout/process4"/>
    <dgm:cxn modelId="{E434276A-9B2D-443D-84C0-E644142250C4}" srcId="{DCB7EFCD-20FB-4C3E-961C-45714A5B0DF1}" destId="{6851D55F-BF19-4863-902B-27696634EE18}" srcOrd="2" destOrd="0" parTransId="{59293E03-DF2A-463B-ACF8-EE738B354B7E}" sibTransId="{5F9B0F36-22A8-4F18-ACD4-D15B6C1307FE}"/>
    <dgm:cxn modelId="{484BFE37-9426-4310-8E4A-4EF14DAF7010}" srcId="{DB5EC229-D4D1-4E12-AB45-F70597764FB4}" destId="{4FDDD0BD-E184-4E69-AFE0-988E58DD7079}" srcOrd="0" destOrd="0" parTransId="{38197FC7-6A34-4B57-A053-CA4316CB6F20}" sibTransId="{58B6E748-27AC-46D0-AE23-52DAE65FEEEA}"/>
    <dgm:cxn modelId="{BEB63E99-6391-4661-8956-1D724E65E71C}" type="presOf" srcId="{EF3EC153-CAB6-4B68-BACD-D9FE42995A92}" destId="{A88D5B98-AF89-4C3D-8BB6-5B1EC41ADC3D}" srcOrd="0" destOrd="0" presId="urn:microsoft.com/office/officeart/2005/8/layout/process4"/>
    <dgm:cxn modelId="{2C91523F-2CEB-468F-AF03-CC6EFDFDBD87}" type="presOf" srcId="{B23A1105-2F53-48B6-9870-52B3D4A7133A}" destId="{AC70717C-6395-4381-9371-FEAEBDB8B1C5}" srcOrd="0" destOrd="0" presId="urn:microsoft.com/office/officeart/2005/8/layout/process4"/>
    <dgm:cxn modelId="{CAB299F4-24DA-4657-A0D3-DACA11A33EF0}" type="presOf" srcId="{DB5EC229-D4D1-4E12-AB45-F70597764FB4}" destId="{E4256D83-2E79-4BED-96A4-B23C15E1380E}" srcOrd="1" destOrd="0" presId="urn:microsoft.com/office/officeart/2005/8/layout/process4"/>
    <dgm:cxn modelId="{1094E8CA-D71A-4BCA-ADA6-424A712D131C}" srcId="{6851D55F-BF19-4863-902B-27696634EE18}" destId="{B23A1105-2F53-48B6-9870-52B3D4A7133A}" srcOrd="1" destOrd="0" parTransId="{EDA992E0-4478-4049-BB63-D3AD729E4AA7}" sibTransId="{5501A5D2-9082-4D32-9A8D-BE5E968EF921}"/>
    <dgm:cxn modelId="{839C82EF-7357-4E17-A4F9-F7152E7ED572}" type="presOf" srcId="{3D322303-92F2-4FD5-B60B-16D0BB8F9B2C}" destId="{06057222-1AB9-4FDA-B9C3-FA3FDFE96991}" srcOrd="0" destOrd="0" presId="urn:microsoft.com/office/officeart/2005/8/layout/process4"/>
    <dgm:cxn modelId="{63BBBE85-011A-47E3-BD11-30CB202DB330}" type="presOf" srcId="{58724D89-ED5E-412B-B2AE-B69E286F67B3}" destId="{2C01C767-686C-4695-A9BA-15C724E6788F}" srcOrd="0" destOrd="0" presId="urn:microsoft.com/office/officeart/2005/8/layout/process4"/>
    <dgm:cxn modelId="{D88EEC64-297D-44FE-8B84-EF080E5AF7BA}" type="presOf" srcId="{4FDDD0BD-E184-4E69-AFE0-988E58DD7079}" destId="{A1FC85C2-B458-4F47-A59C-5EE78B25360F}" srcOrd="0" destOrd="0" presId="urn:microsoft.com/office/officeart/2005/8/layout/process4"/>
    <dgm:cxn modelId="{93A9068B-3CB8-4768-A817-9955865EF40D}" type="presOf" srcId="{5B5735B5-17A9-4A2C-92D0-8F86F392814C}" destId="{F2E6C474-6B48-4F12-984C-3115F2152963}" srcOrd="0" destOrd="0" presId="urn:microsoft.com/office/officeart/2005/8/layout/process4"/>
    <dgm:cxn modelId="{3A4CDCDA-DA85-4B64-A0B6-93442CC3C63D}" type="presOf" srcId="{6851D55F-BF19-4863-902B-27696634EE18}" destId="{CA69BBC5-2C78-40B6-8B01-EAAC84BDE957}" srcOrd="0" destOrd="0" presId="urn:microsoft.com/office/officeart/2005/8/layout/process4"/>
    <dgm:cxn modelId="{C8BBE6A6-AFB8-4DBC-A173-F11854274D08}" srcId="{DCB7EFCD-20FB-4C3E-961C-45714A5B0DF1}" destId="{DB5EC229-D4D1-4E12-AB45-F70597764FB4}" srcOrd="3" destOrd="0" parTransId="{3DD9106A-8749-4245-B527-C94E87FD5CFF}" sibTransId="{871014DB-B36A-45E1-AAC5-023D842366FE}"/>
    <dgm:cxn modelId="{D28310E0-CF2E-4270-B35E-15B8B4ADC4CB}" type="presOf" srcId="{6851D55F-BF19-4863-902B-27696634EE18}" destId="{6E99A9F5-20C5-4A62-A208-8B0686054B33}" srcOrd="1" destOrd="0" presId="urn:microsoft.com/office/officeart/2005/8/layout/process4"/>
    <dgm:cxn modelId="{61CD4B2B-13AA-41DB-B522-CF93CBEA8092}" type="presOf" srcId="{EF3EC153-CAB6-4B68-BACD-D9FE42995A92}" destId="{4760A90A-FE61-45A0-8C13-50265DE41843}" srcOrd="1" destOrd="0" presId="urn:microsoft.com/office/officeart/2005/8/layout/process4"/>
    <dgm:cxn modelId="{6B6BE3FE-CD09-4F3B-9FB9-DC86596D7E62}" type="presOf" srcId="{68873BD8-12FC-41BA-B59B-F1E02614966F}" destId="{F4A6AA83-65B1-4A0D-8F71-575259ECD2DB}" srcOrd="0" destOrd="0" presId="urn:microsoft.com/office/officeart/2005/8/layout/process4"/>
    <dgm:cxn modelId="{D9080F8B-4E30-46B8-B9EA-6301CC2F3458}" type="presParOf" srcId="{1DE6E360-C765-4B39-BF02-E62BF0C8D3DE}" destId="{16C4FB28-9205-4745-B474-D2979E9EB8B2}" srcOrd="0" destOrd="0" presId="urn:microsoft.com/office/officeart/2005/8/layout/process4"/>
    <dgm:cxn modelId="{FF95F145-FFBE-481B-8A9F-BA0E67688C36}" type="presParOf" srcId="{16C4FB28-9205-4745-B474-D2979E9EB8B2}" destId="{F2E6C474-6B48-4F12-984C-3115F2152963}" srcOrd="0" destOrd="0" presId="urn:microsoft.com/office/officeart/2005/8/layout/process4"/>
    <dgm:cxn modelId="{95B90860-0AFF-4F59-A959-247B7F7D6330}" type="presParOf" srcId="{16C4FB28-9205-4745-B474-D2979E9EB8B2}" destId="{65214796-2B60-4846-A7D0-3555559E4D9D}" srcOrd="1" destOrd="0" presId="urn:microsoft.com/office/officeart/2005/8/layout/process4"/>
    <dgm:cxn modelId="{F8AF5131-9613-4243-8D1B-E2BBDC7FDF5D}" type="presParOf" srcId="{16C4FB28-9205-4745-B474-D2979E9EB8B2}" destId="{F841112D-5800-488F-B25D-F3BC641F1DDE}" srcOrd="2" destOrd="0" presId="urn:microsoft.com/office/officeart/2005/8/layout/process4"/>
    <dgm:cxn modelId="{79045D4C-B323-4B8F-B711-0E516A99F107}" type="presParOf" srcId="{F841112D-5800-488F-B25D-F3BC641F1DDE}" destId="{3CFD61B5-3EFA-4760-BBDC-AC5E67E0D6B2}" srcOrd="0" destOrd="0" presId="urn:microsoft.com/office/officeart/2005/8/layout/process4"/>
    <dgm:cxn modelId="{9416189D-6318-4214-B984-71FC68F0E67D}" type="presParOf" srcId="{1DE6E360-C765-4B39-BF02-E62BF0C8D3DE}" destId="{63366071-7A08-4972-8B60-2162B5BCD9C2}" srcOrd="1" destOrd="0" presId="urn:microsoft.com/office/officeart/2005/8/layout/process4"/>
    <dgm:cxn modelId="{2CAB001C-D167-40BA-8930-01CEDC4BCA68}" type="presParOf" srcId="{1DE6E360-C765-4B39-BF02-E62BF0C8D3DE}" destId="{7E2F25BA-E95B-464A-AAE5-5413B7102036}" srcOrd="2" destOrd="0" presId="urn:microsoft.com/office/officeart/2005/8/layout/process4"/>
    <dgm:cxn modelId="{0F89C225-727C-4B86-8949-DCE3ED4B9BF1}" type="presParOf" srcId="{7E2F25BA-E95B-464A-AAE5-5413B7102036}" destId="{4DA7B31A-3E0F-4A19-A546-EDE57A9C3762}" srcOrd="0" destOrd="0" presId="urn:microsoft.com/office/officeart/2005/8/layout/process4"/>
    <dgm:cxn modelId="{E1D7703F-35B6-4650-84D0-1410C3DA0365}" type="presParOf" srcId="{7E2F25BA-E95B-464A-AAE5-5413B7102036}" destId="{E4256D83-2E79-4BED-96A4-B23C15E1380E}" srcOrd="1" destOrd="0" presId="urn:microsoft.com/office/officeart/2005/8/layout/process4"/>
    <dgm:cxn modelId="{6B1A7E2F-01E9-4F03-8799-A10BF5893B48}" type="presParOf" srcId="{7E2F25BA-E95B-464A-AAE5-5413B7102036}" destId="{5F802FEA-B883-4044-9FF8-D8F57A222D08}" srcOrd="2" destOrd="0" presId="urn:microsoft.com/office/officeart/2005/8/layout/process4"/>
    <dgm:cxn modelId="{F61C3EE6-CA2F-4614-84D7-309206F536C1}" type="presParOf" srcId="{5F802FEA-B883-4044-9FF8-D8F57A222D08}" destId="{A1FC85C2-B458-4F47-A59C-5EE78B25360F}" srcOrd="0" destOrd="0" presId="urn:microsoft.com/office/officeart/2005/8/layout/process4"/>
    <dgm:cxn modelId="{68142D89-76BA-4299-B08F-1BF62E7505DC}" type="presParOf" srcId="{1DE6E360-C765-4B39-BF02-E62BF0C8D3DE}" destId="{3A761AA5-5114-4FCD-8BDE-17BAE96C19C8}" srcOrd="3" destOrd="0" presId="urn:microsoft.com/office/officeart/2005/8/layout/process4"/>
    <dgm:cxn modelId="{1F11DFBB-62AF-4303-A229-35A668166B48}" type="presParOf" srcId="{1DE6E360-C765-4B39-BF02-E62BF0C8D3DE}" destId="{83EEEFA1-84B7-46C6-BA1E-F746A3D1906E}" srcOrd="4" destOrd="0" presId="urn:microsoft.com/office/officeart/2005/8/layout/process4"/>
    <dgm:cxn modelId="{86B566E4-14F9-4818-B822-2F0799C488A8}" type="presParOf" srcId="{83EEEFA1-84B7-46C6-BA1E-F746A3D1906E}" destId="{CA69BBC5-2C78-40B6-8B01-EAAC84BDE957}" srcOrd="0" destOrd="0" presId="urn:microsoft.com/office/officeart/2005/8/layout/process4"/>
    <dgm:cxn modelId="{F84A66CA-2F63-4C40-8A34-7E926DE18D2D}" type="presParOf" srcId="{83EEEFA1-84B7-46C6-BA1E-F746A3D1906E}" destId="{6E99A9F5-20C5-4A62-A208-8B0686054B33}" srcOrd="1" destOrd="0" presId="urn:microsoft.com/office/officeart/2005/8/layout/process4"/>
    <dgm:cxn modelId="{12ED0F97-80EA-402B-B702-D40E69649BA2}" type="presParOf" srcId="{83EEEFA1-84B7-46C6-BA1E-F746A3D1906E}" destId="{B53B16CF-EE07-4DF7-A823-69C0D0DC2F22}" srcOrd="2" destOrd="0" presId="urn:microsoft.com/office/officeart/2005/8/layout/process4"/>
    <dgm:cxn modelId="{62155673-4BB9-458D-83AC-64083F2CDEA3}" type="presParOf" srcId="{B53B16CF-EE07-4DF7-A823-69C0D0DC2F22}" destId="{F9551F03-F9E5-47AB-9AE0-A332E7FBA389}" srcOrd="0" destOrd="0" presId="urn:microsoft.com/office/officeart/2005/8/layout/process4"/>
    <dgm:cxn modelId="{F8BEE7CF-CBD8-42CD-8934-B25A9A98DFEE}" type="presParOf" srcId="{B53B16CF-EE07-4DF7-A823-69C0D0DC2F22}" destId="{AC70717C-6395-4381-9371-FEAEBDB8B1C5}" srcOrd="1" destOrd="0" presId="urn:microsoft.com/office/officeart/2005/8/layout/process4"/>
    <dgm:cxn modelId="{963FB0BC-9563-4C9C-A72D-948E9F79A997}" type="presParOf" srcId="{1DE6E360-C765-4B39-BF02-E62BF0C8D3DE}" destId="{15BA3036-29A7-4E1F-ACA6-E459C192766F}" srcOrd="5" destOrd="0" presId="urn:microsoft.com/office/officeart/2005/8/layout/process4"/>
    <dgm:cxn modelId="{E1C848EB-CC4B-4AB5-BF08-9A61880DBA24}" type="presParOf" srcId="{1DE6E360-C765-4B39-BF02-E62BF0C8D3DE}" destId="{C683CD07-B3B1-4301-B18F-205DED5B41B3}" srcOrd="6" destOrd="0" presId="urn:microsoft.com/office/officeart/2005/8/layout/process4"/>
    <dgm:cxn modelId="{4F41E8EE-55FE-4D3F-B78F-CDE23A4E321A}" type="presParOf" srcId="{C683CD07-B3B1-4301-B18F-205DED5B41B3}" destId="{A88D5B98-AF89-4C3D-8BB6-5B1EC41ADC3D}" srcOrd="0" destOrd="0" presId="urn:microsoft.com/office/officeart/2005/8/layout/process4"/>
    <dgm:cxn modelId="{BBCDF2CB-D36F-4DA8-8B34-5616329C998B}" type="presParOf" srcId="{C683CD07-B3B1-4301-B18F-205DED5B41B3}" destId="{4760A90A-FE61-45A0-8C13-50265DE41843}" srcOrd="1" destOrd="0" presId="urn:microsoft.com/office/officeart/2005/8/layout/process4"/>
    <dgm:cxn modelId="{669D9B72-F382-4236-8948-1C183CFE1645}" type="presParOf" srcId="{C683CD07-B3B1-4301-B18F-205DED5B41B3}" destId="{A4F68284-0C57-4153-A91C-ED065EFB7A00}" srcOrd="2" destOrd="0" presId="urn:microsoft.com/office/officeart/2005/8/layout/process4"/>
    <dgm:cxn modelId="{AB3173D1-D5A1-4A78-8283-14357F03E225}" type="presParOf" srcId="{A4F68284-0C57-4153-A91C-ED065EFB7A00}" destId="{F577C4A1-2C76-4BC6-A16B-DC8C2DAE7E0B}" srcOrd="0" destOrd="0" presId="urn:microsoft.com/office/officeart/2005/8/layout/process4"/>
    <dgm:cxn modelId="{1B0315E9-DF51-4D6E-91A2-04FF8AAE5C73}" type="presParOf" srcId="{1DE6E360-C765-4B39-BF02-E62BF0C8D3DE}" destId="{7C09E047-39EA-47D6-8685-35EEF4D26C70}" srcOrd="7" destOrd="0" presId="urn:microsoft.com/office/officeart/2005/8/layout/process4"/>
    <dgm:cxn modelId="{DFC292B5-9900-465A-94B8-F7A162B1B199}" type="presParOf" srcId="{1DE6E360-C765-4B39-BF02-E62BF0C8D3DE}" destId="{D517EC02-9347-43DE-97AC-D049AA99217B}" srcOrd="8" destOrd="0" presId="urn:microsoft.com/office/officeart/2005/8/layout/process4"/>
    <dgm:cxn modelId="{4104D301-9154-4E4D-A4C6-812148604DB7}" type="presParOf" srcId="{D517EC02-9347-43DE-97AC-D049AA99217B}" destId="{2C01C767-686C-4695-A9BA-15C724E6788F}" srcOrd="0" destOrd="0" presId="urn:microsoft.com/office/officeart/2005/8/layout/process4"/>
    <dgm:cxn modelId="{8FB81670-32D6-4943-9E14-0A8670FEEA63}" type="presParOf" srcId="{D517EC02-9347-43DE-97AC-D049AA99217B}" destId="{4A528BCA-7956-4309-A83D-0B788BE419FE}" srcOrd="1" destOrd="0" presId="urn:microsoft.com/office/officeart/2005/8/layout/process4"/>
    <dgm:cxn modelId="{7DCC5BA7-D2BF-40C2-AB42-34C2CD0C366C}" type="presParOf" srcId="{D517EC02-9347-43DE-97AC-D049AA99217B}" destId="{B1FD1FB3-2CF5-49A1-BACF-8F85EFB906AB}" srcOrd="2" destOrd="0" presId="urn:microsoft.com/office/officeart/2005/8/layout/process4"/>
    <dgm:cxn modelId="{DDF77C6E-AB71-4BC9-A54B-90E70777F77E}" type="presParOf" srcId="{B1FD1FB3-2CF5-49A1-BACF-8F85EFB906AB}" destId="{06057222-1AB9-4FDA-B9C3-FA3FDFE96991}" srcOrd="0" destOrd="0" presId="urn:microsoft.com/office/officeart/2005/8/layout/process4"/>
    <dgm:cxn modelId="{9D6D62B8-6BA3-4A12-959A-F7C7BA8FA736}" type="presParOf" srcId="{B1FD1FB3-2CF5-49A1-BACF-8F85EFB906AB}" destId="{F4A6AA83-65B1-4A0D-8F71-575259ECD2DB}" srcOrd="1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80B1FC6-9D3D-4030-A612-FE793261227A}">
      <dsp:nvSpPr>
        <dsp:cNvPr id="0" name=""/>
        <dsp:cNvSpPr/>
      </dsp:nvSpPr>
      <dsp:spPr>
        <a:xfrm>
          <a:off x="887392" y="515809"/>
          <a:ext cx="2459285" cy="2459285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900" kern="1200" dirty="0"/>
            <a:t>Efectos sobre la salud psicológicas de los trabajadores</a:t>
          </a:r>
          <a:endParaRPr lang="en-US" sz="1900" kern="1200" dirty="0"/>
        </a:p>
      </dsp:txBody>
      <dsp:txXfrm>
        <a:off x="1215296" y="946184"/>
        <a:ext cx="1803476" cy="1106678"/>
      </dsp:txXfrm>
    </dsp:sp>
    <dsp:sp modelId="{18A97FC7-D6FB-4466-82E3-40CF1A420558}">
      <dsp:nvSpPr>
        <dsp:cNvPr id="0" name=""/>
        <dsp:cNvSpPr/>
      </dsp:nvSpPr>
      <dsp:spPr>
        <a:xfrm>
          <a:off x="1774784" y="2052863"/>
          <a:ext cx="2459285" cy="2459285"/>
        </a:xfrm>
        <a:prstGeom prst="ellipse">
          <a:avLst/>
        </a:prstGeom>
        <a:solidFill>
          <a:schemeClr val="accent2">
            <a:alpha val="50000"/>
            <a:hueOff val="2340759"/>
            <a:satOff val="-2919"/>
            <a:lumOff val="68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900" kern="1200"/>
            <a:t>Efectos </a:t>
          </a:r>
          <a:r>
            <a:rPr lang="es-CL" sz="1900" kern="1200" dirty="0"/>
            <a:t>sobre la salud física de los trabajadores</a:t>
          </a:r>
          <a:endParaRPr lang="en-US" sz="1900" kern="1200" dirty="0"/>
        </a:p>
      </dsp:txBody>
      <dsp:txXfrm>
        <a:off x="2526915" y="2688178"/>
        <a:ext cx="1475571" cy="1352607"/>
      </dsp:txXfrm>
    </dsp:sp>
    <dsp:sp modelId="{D1FF4996-C6A8-4F47-83A8-451079C8C719}">
      <dsp:nvSpPr>
        <dsp:cNvPr id="0" name=""/>
        <dsp:cNvSpPr/>
      </dsp:nvSpPr>
      <dsp:spPr>
        <a:xfrm>
          <a:off x="0" y="2052863"/>
          <a:ext cx="2459285" cy="2459285"/>
        </a:xfrm>
        <a:prstGeom prst="ellipse">
          <a:avLst/>
        </a:prstGeom>
        <a:solidFill>
          <a:schemeClr val="accent2">
            <a:alpha val="50000"/>
            <a:hueOff val="4681519"/>
            <a:satOff val="-5839"/>
            <a:lumOff val="137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900" kern="1200" dirty="0"/>
            <a:t>Efectos sobre los resultados del trabajo y sobre la propia organización </a:t>
          </a:r>
          <a:endParaRPr lang="en-US" sz="1900" kern="1200" dirty="0"/>
        </a:p>
      </dsp:txBody>
      <dsp:txXfrm>
        <a:off x="231582" y="2688178"/>
        <a:ext cx="1475571" cy="135260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CF59AB7-CFBF-41C7-98D5-773CCE0B5142}">
      <dsp:nvSpPr>
        <dsp:cNvPr id="0" name=""/>
        <dsp:cNvSpPr/>
      </dsp:nvSpPr>
      <dsp:spPr>
        <a:xfrm>
          <a:off x="2114" y="391987"/>
          <a:ext cx="897141" cy="3887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64008" rIns="64008" bIns="34290" numCol="1" spcCol="1270" anchor="t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900" kern="1200" dirty="0" err="1"/>
            <a:t>Sep</a:t>
          </a:r>
          <a:r>
            <a:rPr lang="es-CL" sz="900" kern="1200" dirty="0"/>
            <a:t> 2013</a:t>
          </a:r>
        </a:p>
      </dsp:txBody>
      <dsp:txXfrm>
        <a:off x="2114" y="391987"/>
        <a:ext cx="897141" cy="259200"/>
      </dsp:txXfrm>
    </dsp:sp>
    <dsp:sp modelId="{F9613E10-4AF5-4315-BA61-FEFDF1819EC9}">
      <dsp:nvSpPr>
        <dsp:cNvPr id="0" name=""/>
        <dsp:cNvSpPr/>
      </dsp:nvSpPr>
      <dsp:spPr>
        <a:xfrm>
          <a:off x="185866" y="651187"/>
          <a:ext cx="897141" cy="96896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64008" bIns="64008" numCol="1" spcCol="1270" anchor="t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L" sz="900" kern="1200" dirty="0"/>
            <a:t>Res 336 (12 junio 2013) Protocolo de Vigilancia de Riesgos Psicosociales</a:t>
          </a:r>
        </a:p>
      </dsp:txBody>
      <dsp:txXfrm>
        <a:off x="212142" y="677463"/>
        <a:ext cx="844589" cy="916410"/>
      </dsp:txXfrm>
    </dsp:sp>
    <dsp:sp modelId="{955110DD-3C28-493F-8E00-BC36F8A4A66A}">
      <dsp:nvSpPr>
        <dsp:cNvPr id="0" name=""/>
        <dsp:cNvSpPr/>
      </dsp:nvSpPr>
      <dsp:spPr>
        <a:xfrm>
          <a:off x="1035258" y="409906"/>
          <a:ext cx="288327" cy="223362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L" sz="700" kern="1200"/>
        </a:p>
      </dsp:txBody>
      <dsp:txXfrm>
        <a:off x="1035258" y="454578"/>
        <a:ext cx="221318" cy="134018"/>
      </dsp:txXfrm>
    </dsp:sp>
    <dsp:sp modelId="{1DCF5D61-BD35-483A-A518-BABBF586384C}">
      <dsp:nvSpPr>
        <dsp:cNvPr id="0" name=""/>
        <dsp:cNvSpPr/>
      </dsp:nvSpPr>
      <dsp:spPr>
        <a:xfrm>
          <a:off x="1443268" y="391987"/>
          <a:ext cx="897141" cy="3887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64008" rIns="64008" bIns="34290" numCol="1" spcCol="1270" anchor="t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900" kern="1200" dirty="0" err="1"/>
            <a:t>Sep</a:t>
          </a:r>
          <a:r>
            <a:rPr lang="es-CL" sz="900" kern="1200" dirty="0"/>
            <a:t> 2015</a:t>
          </a:r>
        </a:p>
      </dsp:txBody>
      <dsp:txXfrm>
        <a:off x="1443268" y="391987"/>
        <a:ext cx="897141" cy="259200"/>
      </dsp:txXfrm>
    </dsp:sp>
    <dsp:sp modelId="{7DB4B553-72A7-4FF9-B727-A5ED9EFFB9B7}">
      <dsp:nvSpPr>
        <dsp:cNvPr id="0" name=""/>
        <dsp:cNvSpPr/>
      </dsp:nvSpPr>
      <dsp:spPr>
        <a:xfrm>
          <a:off x="1627020" y="651187"/>
          <a:ext cx="897141" cy="96896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64008" bIns="64008" numCol="1" spcCol="1270" anchor="t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L" sz="900" kern="1200" dirty="0"/>
            <a:t>Res 336 (12 junio 2013)  Protocolo rige para todos los sectores económicos</a:t>
          </a:r>
        </a:p>
      </dsp:txBody>
      <dsp:txXfrm>
        <a:off x="1653296" y="677463"/>
        <a:ext cx="844589" cy="916410"/>
      </dsp:txXfrm>
    </dsp:sp>
    <dsp:sp modelId="{42DC59F9-5E82-43BB-9316-646A08342005}">
      <dsp:nvSpPr>
        <dsp:cNvPr id="0" name=""/>
        <dsp:cNvSpPr/>
      </dsp:nvSpPr>
      <dsp:spPr>
        <a:xfrm>
          <a:off x="2476413" y="409906"/>
          <a:ext cx="288327" cy="223362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L" sz="700" kern="1200"/>
        </a:p>
      </dsp:txBody>
      <dsp:txXfrm>
        <a:off x="2476413" y="454578"/>
        <a:ext cx="221318" cy="134018"/>
      </dsp:txXfrm>
    </dsp:sp>
    <dsp:sp modelId="{08106DCB-CC1C-41C1-8BE0-30DFC574F0D7}">
      <dsp:nvSpPr>
        <dsp:cNvPr id="0" name=""/>
        <dsp:cNvSpPr/>
      </dsp:nvSpPr>
      <dsp:spPr>
        <a:xfrm>
          <a:off x="2884423" y="391987"/>
          <a:ext cx="897141" cy="3887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64008" rIns="64008" bIns="34290" numCol="1" spcCol="1270" anchor="t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900" kern="1200" dirty="0"/>
            <a:t>27 Jul 2016</a:t>
          </a:r>
        </a:p>
      </dsp:txBody>
      <dsp:txXfrm>
        <a:off x="2884423" y="391987"/>
        <a:ext cx="897141" cy="259200"/>
      </dsp:txXfrm>
    </dsp:sp>
    <dsp:sp modelId="{5FC77E11-6B42-4831-8DFF-044F752E19CD}">
      <dsp:nvSpPr>
        <dsp:cNvPr id="0" name=""/>
        <dsp:cNvSpPr/>
      </dsp:nvSpPr>
      <dsp:spPr>
        <a:xfrm>
          <a:off x="3068175" y="651187"/>
          <a:ext cx="897141" cy="96896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64008" bIns="64008" numCol="1" spcCol="1270" anchor="t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L" sz="900" kern="1200" dirty="0" err="1"/>
            <a:t>Circ</a:t>
          </a:r>
          <a:r>
            <a:rPr lang="es-CL" sz="900" kern="1200" dirty="0"/>
            <a:t> 3241 Normas mínimas para evaluar EPSM (derogada por 3298)</a:t>
          </a:r>
        </a:p>
      </dsp:txBody>
      <dsp:txXfrm>
        <a:off x="3094451" y="677463"/>
        <a:ext cx="844589" cy="916410"/>
      </dsp:txXfrm>
    </dsp:sp>
    <dsp:sp modelId="{EE5A9845-FC0A-443C-860B-A24443AB26D9}">
      <dsp:nvSpPr>
        <dsp:cNvPr id="0" name=""/>
        <dsp:cNvSpPr/>
      </dsp:nvSpPr>
      <dsp:spPr>
        <a:xfrm>
          <a:off x="3917568" y="409906"/>
          <a:ext cx="288327" cy="223362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L" sz="700" kern="1200"/>
        </a:p>
      </dsp:txBody>
      <dsp:txXfrm>
        <a:off x="3917568" y="454578"/>
        <a:ext cx="221318" cy="134018"/>
      </dsp:txXfrm>
    </dsp:sp>
    <dsp:sp modelId="{B9FA3567-2EB3-448F-A736-9120A70B595E}">
      <dsp:nvSpPr>
        <dsp:cNvPr id="0" name=""/>
        <dsp:cNvSpPr/>
      </dsp:nvSpPr>
      <dsp:spPr>
        <a:xfrm>
          <a:off x="4325578" y="391987"/>
          <a:ext cx="897141" cy="3887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64008" rIns="64008" bIns="34290" numCol="1" spcCol="1270" anchor="t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900" kern="1200" dirty="0"/>
            <a:t>02 </a:t>
          </a:r>
          <a:r>
            <a:rPr lang="es-CL" sz="900" kern="1200" dirty="0" err="1"/>
            <a:t>Sep</a:t>
          </a:r>
          <a:r>
            <a:rPr lang="es-CL" sz="900" kern="1200" dirty="0"/>
            <a:t> 2016</a:t>
          </a:r>
        </a:p>
      </dsp:txBody>
      <dsp:txXfrm>
        <a:off x="4325578" y="391987"/>
        <a:ext cx="897141" cy="259200"/>
      </dsp:txXfrm>
    </dsp:sp>
    <dsp:sp modelId="{5A392587-AB70-4079-81E9-659DC44D2DFD}">
      <dsp:nvSpPr>
        <dsp:cNvPr id="0" name=""/>
        <dsp:cNvSpPr/>
      </dsp:nvSpPr>
      <dsp:spPr>
        <a:xfrm>
          <a:off x="4509330" y="651187"/>
          <a:ext cx="897141" cy="96896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64008" bIns="64008" numCol="1" spcCol="1270" anchor="t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L" sz="900" kern="1200" dirty="0" err="1"/>
            <a:t>Circ</a:t>
          </a:r>
          <a:r>
            <a:rPr lang="es-CL" sz="900" kern="1200" dirty="0"/>
            <a:t> 3243 Metodología de evaluación de RPS</a:t>
          </a:r>
        </a:p>
      </dsp:txBody>
      <dsp:txXfrm>
        <a:off x="4535606" y="677463"/>
        <a:ext cx="844589" cy="916410"/>
      </dsp:txXfrm>
    </dsp:sp>
    <dsp:sp modelId="{53494C76-2CC5-4AC2-8531-C1A31A084076}">
      <dsp:nvSpPr>
        <dsp:cNvPr id="0" name=""/>
        <dsp:cNvSpPr/>
      </dsp:nvSpPr>
      <dsp:spPr>
        <a:xfrm>
          <a:off x="5358722" y="409906"/>
          <a:ext cx="288327" cy="223362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L" sz="700" kern="1200"/>
        </a:p>
      </dsp:txBody>
      <dsp:txXfrm>
        <a:off x="5358722" y="454578"/>
        <a:ext cx="221318" cy="134018"/>
      </dsp:txXfrm>
    </dsp:sp>
    <dsp:sp modelId="{12EDE353-9772-4315-821B-D61851D7FC5E}">
      <dsp:nvSpPr>
        <dsp:cNvPr id="0" name=""/>
        <dsp:cNvSpPr/>
      </dsp:nvSpPr>
      <dsp:spPr>
        <a:xfrm>
          <a:off x="5766733" y="391987"/>
          <a:ext cx="897141" cy="3887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64008" rIns="64008" bIns="34290" numCol="1" spcCol="1270" anchor="t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900" kern="1200" dirty="0"/>
            <a:t>Dic 2016</a:t>
          </a:r>
        </a:p>
      </dsp:txBody>
      <dsp:txXfrm>
        <a:off x="5766733" y="391987"/>
        <a:ext cx="897141" cy="259200"/>
      </dsp:txXfrm>
    </dsp:sp>
    <dsp:sp modelId="{E7512F1E-EAEB-4A72-96C4-89D1CAE5FBC1}">
      <dsp:nvSpPr>
        <dsp:cNvPr id="0" name=""/>
        <dsp:cNvSpPr/>
      </dsp:nvSpPr>
      <dsp:spPr>
        <a:xfrm>
          <a:off x="5950484" y="651187"/>
          <a:ext cx="897141" cy="96896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64008" bIns="64008" numCol="1" spcCol="1270" anchor="t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L" sz="900" kern="1200" dirty="0"/>
            <a:t>Ord 69976 Recalculo de nivel de riesgo</a:t>
          </a:r>
        </a:p>
      </dsp:txBody>
      <dsp:txXfrm>
        <a:off x="5976760" y="677463"/>
        <a:ext cx="844589" cy="916410"/>
      </dsp:txXfrm>
    </dsp:sp>
    <dsp:sp modelId="{97F1010C-E68B-43CE-B941-31CE491A3974}">
      <dsp:nvSpPr>
        <dsp:cNvPr id="0" name=""/>
        <dsp:cNvSpPr/>
      </dsp:nvSpPr>
      <dsp:spPr>
        <a:xfrm>
          <a:off x="6799877" y="409906"/>
          <a:ext cx="288327" cy="223362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L" sz="700" kern="1200"/>
        </a:p>
      </dsp:txBody>
      <dsp:txXfrm>
        <a:off x="6799877" y="454578"/>
        <a:ext cx="221318" cy="134018"/>
      </dsp:txXfrm>
    </dsp:sp>
    <dsp:sp modelId="{BACF0FF0-093A-4372-95EA-9B20217E7DEA}">
      <dsp:nvSpPr>
        <dsp:cNvPr id="0" name=""/>
        <dsp:cNvSpPr/>
      </dsp:nvSpPr>
      <dsp:spPr>
        <a:xfrm>
          <a:off x="7207887" y="391987"/>
          <a:ext cx="897141" cy="3887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64008" rIns="64008" bIns="34290" numCol="1" spcCol="1270" anchor="t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900" kern="1200" dirty="0" err="1"/>
            <a:t>May</a:t>
          </a:r>
          <a:r>
            <a:rPr lang="es-CL" sz="900" kern="1200" dirty="0"/>
            <a:t> 2017</a:t>
          </a:r>
        </a:p>
      </dsp:txBody>
      <dsp:txXfrm>
        <a:off x="7207887" y="391987"/>
        <a:ext cx="897141" cy="259200"/>
      </dsp:txXfrm>
    </dsp:sp>
    <dsp:sp modelId="{B95A0AEF-98A1-4D68-A8F7-3ECAB3237938}">
      <dsp:nvSpPr>
        <dsp:cNvPr id="0" name=""/>
        <dsp:cNvSpPr/>
      </dsp:nvSpPr>
      <dsp:spPr>
        <a:xfrm>
          <a:off x="7391639" y="651187"/>
          <a:ext cx="897141" cy="968962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64008" bIns="64008" numCol="1" spcCol="1270" anchor="t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L" sz="900" kern="1200" dirty="0" err="1"/>
            <a:t>Circ</a:t>
          </a:r>
          <a:r>
            <a:rPr lang="es-CL" sz="900" kern="1200" dirty="0"/>
            <a:t> 3298 Modifica 3241. Normas mínimas para evaluar EPSM 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s-CL" sz="900" kern="1200" dirty="0"/>
        </a:p>
      </dsp:txBody>
      <dsp:txXfrm>
        <a:off x="7417915" y="677463"/>
        <a:ext cx="844589" cy="91641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148FE41-E664-4BD2-8D50-BB2BE527C3BB}">
      <dsp:nvSpPr>
        <dsp:cNvPr id="0" name=""/>
        <dsp:cNvSpPr/>
      </dsp:nvSpPr>
      <dsp:spPr>
        <a:xfrm>
          <a:off x="4810" y="651934"/>
          <a:ext cx="1085305" cy="3887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64008" rIns="64008" bIns="34290" numCol="1" spcCol="1270" anchor="t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900" kern="1200" dirty="0"/>
            <a:t>Jul 2017</a:t>
          </a:r>
        </a:p>
      </dsp:txBody>
      <dsp:txXfrm>
        <a:off x="4810" y="651934"/>
        <a:ext cx="1085305" cy="259200"/>
      </dsp:txXfrm>
    </dsp:sp>
    <dsp:sp modelId="{63645840-29B6-424E-9FA2-BC2BA6C0DCEA}">
      <dsp:nvSpPr>
        <dsp:cNvPr id="0" name=""/>
        <dsp:cNvSpPr/>
      </dsp:nvSpPr>
      <dsp:spPr>
        <a:xfrm>
          <a:off x="227101" y="911134"/>
          <a:ext cx="1085305" cy="6804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64008" bIns="64008" numCol="1" spcCol="1270" anchor="t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L" sz="900" kern="1200" dirty="0"/>
            <a:t>Ord 33019 Definición complementaria riesgo medio</a:t>
          </a:r>
        </a:p>
      </dsp:txBody>
      <dsp:txXfrm>
        <a:off x="247029" y="931062"/>
        <a:ext cx="1045449" cy="640544"/>
      </dsp:txXfrm>
    </dsp:sp>
    <dsp:sp modelId="{17C12657-CEEE-4D20-912A-CD0D20FE3A84}">
      <dsp:nvSpPr>
        <dsp:cNvPr id="0" name=""/>
        <dsp:cNvSpPr/>
      </dsp:nvSpPr>
      <dsp:spPr>
        <a:xfrm>
          <a:off x="1254644" y="646429"/>
          <a:ext cx="348800" cy="27020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L" sz="700" kern="1200"/>
        </a:p>
      </dsp:txBody>
      <dsp:txXfrm>
        <a:off x="1254644" y="700471"/>
        <a:ext cx="267737" cy="162125"/>
      </dsp:txXfrm>
    </dsp:sp>
    <dsp:sp modelId="{E1086FA9-1F5A-4903-BDD1-3FFA49D0FB59}">
      <dsp:nvSpPr>
        <dsp:cNvPr id="0" name=""/>
        <dsp:cNvSpPr/>
      </dsp:nvSpPr>
      <dsp:spPr>
        <a:xfrm>
          <a:off x="1748229" y="651934"/>
          <a:ext cx="1085305" cy="3887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64008" rIns="64008" bIns="34290" numCol="1" spcCol="1270" anchor="t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900" kern="1200" dirty="0"/>
            <a:t>Nov 2017</a:t>
          </a:r>
        </a:p>
      </dsp:txBody>
      <dsp:txXfrm>
        <a:off x="1748229" y="651934"/>
        <a:ext cx="1085305" cy="259200"/>
      </dsp:txXfrm>
    </dsp:sp>
    <dsp:sp modelId="{151C610D-0508-4B84-A42D-E3E6FF63E84D}">
      <dsp:nvSpPr>
        <dsp:cNvPr id="0" name=""/>
        <dsp:cNvSpPr/>
      </dsp:nvSpPr>
      <dsp:spPr>
        <a:xfrm>
          <a:off x="1970521" y="911134"/>
          <a:ext cx="1085305" cy="6804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64008" bIns="64008" numCol="1" spcCol="1270" anchor="t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L" sz="900" kern="1200" dirty="0"/>
            <a:t>Res 1433 Actualización protocolo de vigilancia de RPS</a:t>
          </a:r>
        </a:p>
      </dsp:txBody>
      <dsp:txXfrm>
        <a:off x="1990449" y="931062"/>
        <a:ext cx="1045449" cy="640544"/>
      </dsp:txXfrm>
    </dsp:sp>
    <dsp:sp modelId="{9F19F0AE-C23C-465F-A9AC-236120600796}">
      <dsp:nvSpPr>
        <dsp:cNvPr id="0" name=""/>
        <dsp:cNvSpPr/>
      </dsp:nvSpPr>
      <dsp:spPr>
        <a:xfrm>
          <a:off x="2998063" y="646429"/>
          <a:ext cx="348800" cy="27020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L" sz="700" kern="1200"/>
        </a:p>
      </dsp:txBody>
      <dsp:txXfrm>
        <a:off x="2998063" y="700471"/>
        <a:ext cx="267737" cy="162125"/>
      </dsp:txXfrm>
    </dsp:sp>
    <dsp:sp modelId="{444A9240-D7D0-4CE8-861F-2D9D28CB0E17}">
      <dsp:nvSpPr>
        <dsp:cNvPr id="0" name=""/>
        <dsp:cNvSpPr/>
      </dsp:nvSpPr>
      <dsp:spPr>
        <a:xfrm>
          <a:off x="3491648" y="651934"/>
          <a:ext cx="1085305" cy="3887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64008" rIns="64008" bIns="34290" numCol="1" spcCol="1270" anchor="t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900" kern="1200" dirty="0"/>
            <a:t>Dic 2017</a:t>
          </a:r>
        </a:p>
      </dsp:txBody>
      <dsp:txXfrm>
        <a:off x="3491648" y="651934"/>
        <a:ext cx="1085305" cy="259200"/>
      </dsp:txXfrm>
    </dsp:sp>
    <dsp:sp modelId="{DCF88956-1EC8-4C3C-921E-F2F3253ADCD9}">
      <dsp:nvSpPr>
        <dsp:cNvPr id="0" name=""/>
        <dsp:cNvSpPr/>
      </dsp:nvSpPr>
      <dsp:spPr>
        <a:xfrm>
          <a:off x="3713940" y="911134"/>
          <a:ext cx="1085305" cy="6804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64008" bIns="64008" numCol="1" spcCol="1270" anchor="t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L" sz="900" kern="1200" dirty="0"/>
            <a:t>Ord 58114 Actualiza niveles de Riesgo</a:t>
          </a:r>
        </a:p>
      </dsp:txBody>
      <dsp:txXfrm>
        <a:off x="3733868" y="931062"/>
        <a:ext cx="1045449" cy="640544"/>
      </dsp:txXfrm>
    </dsp:sp>
    <dsp:sp modelId="{9BBDF41B-7FEC-4627-86A6-B67DFE4CBF7F}">
      <dsp:nvSpPr>
        <dsp:cNvPr id="0" name=""/>
        <dsp:cNvSpPr/>
      </dsp:nvSpPr>
      <dsp:spPr>
        <a:xfrm>
          <a:off x="4741482" y="646429"/>
          <a:ext cx="348800" cy="27020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L" sz="700" kern="1200"/>
        </a:p>
      </dsp:txBody>
      <dsp:txXfrm>
        <a:off x="4741482" y="700471"/>
        <a:ext cx="267737" cy="162125"/>
      </dsp:txXfrm>
    </dsp:sp>
    <dsp:sp modelId="{601CEB5A-57D4-4A76-819D-1EC8B76CE3C6}">
      <dsp:nvSpPr>
        <dsp:cNvPr id="0" name=""/>
        <dsp:cNvSpPr/>
      </dsp:nvSpPr>
      <dsp:spPr>
        <a:xfrm>
          <a:off x="5235068" y="651934"/>
          <a:ext cx="1085305" cy="3887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64008" rIns="64008" bIns="34290" numCol="1" spcCol="1270" anchor="t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900" kern="1200" dirty="0"/>
            <a:t>Mar 2018</a:t>
          </a:r>
        </a:p>
      </dsp:txBody>
      <dsp:txXfrm>
        <a:off x="5235068" y="651934"/>
        <a:ext cx="1085305" cy="259200"/>
      </dsp:txXfrm>
    </dsp:sp>
    <dsp:sp modelId="{EB55F51B-1084-40CE-AE06-FB21993815FF}">
      <dsp:nvSpPr>
        <dsp:cNvPr id="0" name=""/>
        <dsp:cNvSpPr/>
      </dsp:nvSpPr>
      <dsp:spPr>
        <a:xfrm>
          <a:off x="5457359" y="911134"/>
          <a:ext cx="1085305" cy="6804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64008" bIns="64008" numCol="1" spcCol="1270" anchor="t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L" sz="900" kern="1200" dirty="0"/>
            <a:t>Res 156 Compendio SUSESO</a:t>
          </a:r>
        </a:p>
      </dsp:txBody>
      <dsp:txXfrm>
        <a:off x="5477287" y="931062"/>
        <a:ext cx="1045449" cy="640544"/>
      </dsp:txXfrm>
    </dsp:sp>
    <dsp:sp modelId="{1B84DC86-3829-486D-9997-D40B4EC48768}">
      <dsp:nvSpPr>
        <dsp:cNvPr id="0" name=""/>
        <dsp:cNvSpPr/>
      </dsp:nvSpPr>
      <dsp:spPr>
        <a:xfrm>
          <a:off x="6484902" y="646429"/>
          <a:ext cx="348800" cy="270209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L" sz="700" kern="1200"/>
        </a:p>
      </dsp:txBody>
      <dsp:txXfrm>
        <a:off x="6484902" y="700471"/>
        <a:ext cx="267737" cy="162125"/>
      </dsp:txXfrm>
    </dsp:sp>
    <dsp:sp modelId="{C8C044C6-4709-4F86-91E2-52182E00C602}">
      <dsp:nvSpPr>
        <dsp:cNvPr id="0" name=""/>
        <dsp:cNvSpPr/>
      </dsp:nvSpPr>
      <dsp:spPr>
        <a:xfrm>
          <a:off x="6978487" y="651934"/>
          <a:ext cx="1085305" cy="3887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64008" rIns="64008" bIns="34290" numCol="1" spcCol="1270" anchor="t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900" kern="1200" dirty="0"/>
            <a:t>Jun 2018</a:t>
          </a:r>
        </a:p>
      </dsp:txBody>
      <dsp:txXfrm>
        <a:off x="6978487" y="651934"/>
        <a:ext cx="1085305" cy="259200"/>
      </dsp:txXfrm>
    </dsp:sp>
    <dsp:sp modelId="{BF75D57A-6758-4F30-A31D-4B20EC30116A}">
      <dsp:nvSpPr>
        <dsp:cNvPr id="0" name=""/>
        <dsp:cNvSpPr/>
      </dsp:nvSpPr>
      <dsp:spPr>
        <a:xfrm>
          <a:off x="7200779" y="911134"/>
          <a:ext cx="1085305" cy="6804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64008" bIns="64008" numCol="1" spcCol="1270" anchor="t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L" sz="900" kern="1200" dirty="0"/>
            <a:t>Manual SUSESO ISTAS</a:t>
          </a:r>
        </a:p>
      </dsp:txBody>
      <dsp:txXfrm>
        <a:off x="7220707" y="931062"/>
        <a:ext cx="1045449" cy="640544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1086FA9-1F5A-4903-BDD1-3FFA49D0FB59}">
      <dsp:nvSpPr>
        <dsp:cNvPr id="0" name=""/>
        <dsp:cNvSpPr/>
      </dsp:nvSpPr>
      <dsp:spPr>
        <a:xfrm>
          <a:off x="2114" y="806624"/>
          <a:ext cx="897141" cy="30240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784" tIns="49784" rIns="49784" bIns="26670" numCol="1" spcCol="1270" anchor="t" anchorCtr="0">
          <a:noAutofit/>
        </a:bodyPr>
        <a:lstStyle/>
        <a:p>
          <a:pPr lvl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700" kern="1200" dirty="0"/>
            <a:t>Jun 2018</a:t>
          </a:r>
        </a:p>
      </dsp:txBody>
      <dsp:txXfrm>
        <a:off x="2114" y="806624"/>
        <a:ext cx="897141" cy="201600"/>
      </dsp:txXfrm>
    </dsp:sp>
    <dsp:sp modelId="{151C610D-0508-4B84-A42D-E3E6FF63E84D}">
      <dsp:nvSpPr>
        <dsp:cNvPr id="0" name=""/>
        <dsp:cNvSpPr/>
      </dsp:nvSpPr>
      <dsp:spPr>
        <a:xfrm>
          <a:off x="185866" y="1008224"/>
          <a:ext cx="897141" cy="95613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784" tIns="49784" rIns="49784" bIns="49784" numCol="1" spcCol="1270" anchor="t" anchorCtr="0">
          <a:noAutofit/>
        </a:bodyPr>
        <a:lstStyle/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L" sz="700" kern="1200" dirty="0"/>
            <a:t>Circular 3366 Acerca del cuestionario SUSESO/ISTAS21</a:t>
          </a:r>
        </a:p>
      </dsp:txBody>
      <dsp:txXfrm>
        <a:off x="212142" y="1034500"/>
        <a:ext cx="844589" cy="903586"/>
      </dsp:txXfrm>
    </dsp:sp>
    <dsp:sp modelId="{9F19F0AE-C23C-465F-A9AC-236120600796}">
      <dsp:nvSpPr>
        <dsp:cNvPr id="0" name=""/>
        <dsp:cNvSpPr/>
      </dsp:nvSpPr>
      <dsp:spPr>
        <a:xfrm>
          <a:off x="1035258" y="795743"/>
          <a:ext cx="288327" cy="223362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L" sz="600" kern="1200"/>
        </a:p>
      </dsp:txBody>
      <dsp:txXfrm>
        <a:off x="1035258" y="840415"/>
        <a:ext cx="221318" cy="134018"/>
      </dsp:txXfrm>
    </dsp:sp>
    <dsp:sp modelId="{444A9240-D7D0-4CE8-861F-2D9D28CB0E17}">
      <dsp:nvSpPr>
        <dsp:cNvPr id="0" name=""/>
        <dsp:cNvSpPr/>
      </dsp:nvSpPr>
      <dsp:spPr>
        <a:xfrm>
          <a:off x="1443268" y="806624"/>
          <a:ext cx="897141" cy="30240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784" tIns="49784" rIns="49784" bIns="26670" numCol="1" spcCol="1270" anchor="t" anchorCtr="0">
          <a:noAutofit/>
        </a:bodyPr>
        <a:lstStyle/>
        <a:p>
          <a:pPr lvl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700" kern="1200" dirty="0"/>
            <a:t>Julio 2019</a:t>
          </a:r>
        </a:p>
      </dsp:txBody>
      <dsp:txXfrm>
        <a:off x="1443268" y="806624"/>
        <a:ext cx="897141" cy="201600"/>
      </dsp:txXfrm>
    </dsp:sp>
    <dsp:sp modelId="{DCF88956-1EC8-4C3C-921E-F2F3253ADCD9}">
      <dsp:nvSpPr>
        <dsp:cNvPr id="0" name=""/>
        <dsp:cNvSpPr/>
      </dsp:nvSpPr>
      <dsp:spPr>
        <a:xfrm>
          <a:off x="1627020" y="1008224"/>
          <a:ext cx="897141" cy="95613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784" tIns="49784" rIns="49784" bIns="49784" numCol="1" spcCol="1270" anchor="t" anchorCtr="0">
          <a:noAutofit/>
        </a:bodyPr>
        <a:lstStyle/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700" kern="1200" dirty="0"/>
            <a:t>Circular 3431 Modifica Evaluaciones de Puesto de Trabajo </a:t>
          </a:r>
          <a:r>
            <a:rPr lang="es-ES" sz="700" kern="1200"/>
            <a:t>salud mental</a:t>
          </a:r>
          <a:endParaRPr lang="es-CL" sz="700" kern="1200" dirty="0"/>
        </a:p>
      </dsp:txBody>
      <dsp:txXfrm>
        <a:off x="1653296" y="1034500"/>
        <a:ext cx="844589" cy="903586"/>
      </dsp:txXfrm>
    </dsp:sp>
    <dsp:sp modelId="{9BBDF41B-7FEC-4627-86A6-B67DFE4CBF7F}">
      <dsp:nvSpPr>
        <dsp:cNvPr id="0" name=""/>
        <dsp:cNvSpPr/>
      </dsp:nvSpPr>
      <dsp:spPr>
        <a:xfrm>
          <a:off x="2476413" y="795743"/>
          <a:ext cx="288327" cy="223362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L" sz="600" kern="1200"/>
        </a:p>
      </dsp:txBody>
      <dsp:txXfrm>
        <a:off x="2476413" y="840415"/>
        <a:ext cx="221318" cy="134018"/>
      </dsp:txXfrm>
    </dsp:sp>
    <dsp:sp modelId="{2114ECF0-7402-4022-9404-1483AB1B9F10}">
      <dsp:nvSpPr>
        <dsp:cNvPr id="0" name=""/>
        <dsp:cNvSpPr/>
      </dsp:nvSpPr>
      <dsp:spPr>
        <a:xfrm>
          <a:off x="2884423" y="806624"/>
          <a:ext cx="897141" cy="30240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784" tIns="49784" rIns="49784" bIns="26670" numCol="1" spcCol="1270" anchor="t" anchorCtr="0">
          <a:noAutofit/>
        </a:bodyPr>
        <a:lstStyle/>
        <a:p>
          <a:pPr lvl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700" kern="1200" dirty="0" err="1"/>
            <a:t>Ago</a:t>
          </a:r>
          <a:r>
            <a:rPr lang="es-CL" sz="700" kern="1200" dirty="0"/>
            <a:t> 2019</a:t>
          </a:r>
        </a:p>
      </dsp:txBody>
      <dsp:txXfrm>
        <a:off x="2884423" y="806624"/>
        <a:ext cx="897141" cy="201600"/>
      </dsp:txXfrm>
    </dsp:sp>
    <dsp:sp modelId="{5799AAD8-4E39-4607-B892-6106A4FA1255}">
      <dsp:nvSpPr>
        <dsp:cNvPr id="0" name=""/>
        <dsp:cNvSpPr/>
      </dsp:nvSpPr>
      <dsp:spPr>
        <a:xfrm>
          <a:off x="3068175" y="1008224"/>
          <a:ext cx="897141" cy="95613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784" tIns="49784" rIns="49784" bIns="49784" numCol="1" spcCol="1270" anchor="t" anchorCtr="0">
          <a:noAutofit/>
        </a:bodyPr>
        <a:lstStyle/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L" sz="700" kern="1200" dirty="0"/>
            <a:t>Circular 3442 Modifica uso cuestionario SUSESO ISTAS</a:t>
          </a:r>
        </a:p>
      </dsp:txBody>
      <dsp:txXfrm>
        <a:off x="3094451" y="1034500"/>
        <a:ext cx="844589" cy="903586"/>
      </dsp:txXfrm>
    </dsp:sp>
    <dsp:sp modelId="{BB01BD82-9AC1-4D5A-AFC0-327E237C7DCA}">
      <dsp:nvSpPr>
        <dsp:cNvPr id="0" name=""/>
        <dsp:cNvSpPr/>
      </dsp:nvSpPr>
      <dsp:spPr>
        <a:xfrm>
          <a:off x="3917568" y="795743"/>
          <a:ext cx="288327" cy="223362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L" sz="600" kern="1200"/>
        </a:p>
      </dsp:txBody>
      <dsp:txXfrm>
        <a:off x="3917568" y="840415"/>
        <a:ext cx="221318" cy="134018"/>
      </dsp:txXfrm>
    </dsp:sp>
    <dsp:sp modelId="{DB160992-9B67-480C-B4B5-771FDCD77E71}">
      <dsp:nvSpPr>
        <dsp:cNvPr id="0" name=""/>
        <dsp:cNvSpPr/>
      </dsp:nvSpPr>
      <dsp:spPr>
        <a:xfrm>
          <a:off x="4325578" y="806624"/>
          <a:ext cx="897141" cy="30240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784" tIns="49784" rIns="49784" bIns="26670" numCol="1" spcCol="1270" anchor="t" anchorCtr="0">
          <a:noAutofit/>
        </a:bodyPr>
        <a:lstStyle/>
        <a:p>
          <a:pPr lvl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700" kern="1200" dirty="0"/>
            <a:t>Oct 2019</a:t>
          </a:r>
          <a:endParaRPr lang="es-CL" sz="700" kern="1200" dirty="0"/>
        </a:p>
      </dsp:txBody>
      <dsp:txXfrm>
        <a:off x="4325578" y="806624"/>
        <a:ext cx="897141" cy="201600"/>
      </dsp:txXfrm>
    </dsp:sp>
    <dsp:sp modelId="{5E3296A8-71CA-4AF0-A30C-CA302CA138AD}">
      <dsp:nvSpPr>
        <dsp:cNvPr id="0" name=""/>
        <dsp:cNvSpPr/>
      </dsp:nvSpPr>
      <dsp:spPr>
        <a:xfrm>
          <a:off x="4509330" y="1008224"/>
          <a:ext cx="897141" cy="95613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784" tIns="49784" rIns="49784" bIns="49784" numCol="1" spcCol="1270" anchor="t" anchorCtr="0">
          <a:noAutofit/>
        </a:bodyPr>
        <a:lstStyle/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700" kern="1200" dirty="0"/>
            <a:t>Circular 3468 Recargo de cotización y prescripción de medidas preventivas </a:t>
          </a:r>
          <a:endParaRPr lang="es-CL" sz="700" kern="1200" dirty="0"/>
        </a:p>
      </dsp:txBody>
      <dsp:txXfrm>
        <a:off x="4535606" y="1034500"/>
        <a:ext cx="844589" cy="903586"/>
      </dsp:txXfrm>
    </dsp:sp>
    <dsp:sp modelId="{C8A98BA5-B2D4-49FA-9DD8-D8D1482426D6}">
      <dsp:nvSpPr>
        <dsp:cNvPr id="0" name=""/>
        <dsp:cNvSpPr/>
      </dsp:nvSpPr>
      <dsp:spPr>
        <a:xfrm>
          <a:off x="5358722" y="795743"/>
          <a:ext cx="288327" cy="223362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L" sz="600" kern="1200"/>
        </a:p>
      </dsp:txBody>
      <dsp:txXfrm>
        <a:off x="5358722" y="840415"/>
        <a:ext cx="221318" cy="134018"/>
      </dsp:txXfrm>
    </dsp:sp>
    <dsp:sp modelId="{94DAFDED-1B25-40FA-8A5D-96337DFF0894}">
      <dsp:nvSpPr>
        <dsp:cNvPr id="0" name=""/>
        <dsp:cNvSpPr/>
      </dsp:nvSpPr>
      <dsp:spPr>
        <a:xfrm>
          <a:off x="5766733" y="806624"/>
          <a:ext cx="897141" cy="30240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784" tIns="49784" rIns="49784" bIns="26670" numCol="1" spcCol="1270" anchor="t" anchorCtr="0">
          <a:noAutofit/>
        </a:bodyPr>
        <a:lstStyle/>
        <a:p>
          <a:pPr lvl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700" kern="1200" dirty="0"/>
            <a:t>Feb 2020</a:t>
          </a:r>
          <a:endParaRPr lang="es-CL" sz="700" kern="1200" dirty="0"/>
        </a:p>
      </dsp:txBody>
      <dsp:txXfrm>
        <a:off x="5766733" y="806624"/>
        <a:ext cx="897141" cy="201600"/>
      </dsp:txXfrm>
    </dsp:sp>
    <dsp:sp modelId="{3E692B72-0C57-45D4-A5F3-DFEE044F5E94}">
      <dsp:nvSpPr>
        <dsp:cNvPr id="0" name=""/>
        <dsp:cNvSpPr/>
      </dsp:nvSpPr>
      <dsp:spPr>
        <a:xfrm>
          <a:off x="5950484" y="1008224"/>
          <a:ext cx="897141" cy="95613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784" tIns="49784" rIns="49784" bIns="49784" numCol="1" spcCol="1270" anchor="t" anchorCtr="0">
          <a:noAutofit/>
        </a:bodyPr>
        <a:lstStyle/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" sz="700" kern="1200" dirty="0"/>
            <a:t>Circular 3497 Modifica protocolo de patologías de salud mental</a:t>
          </a:r>
          <a:endParaRPr lang="es-CL" sz="700" kern="1200" dirty="0"/>
        </a:p>
      </dsp:txBody>
      <dsp:txXfrm>
        <a:off x="5976760" y="1034500"/>
        <a:ext cx="844589" cy="903586"/>
      </dsp:txXfrm>
    </dsp:sp>
    <dsp:sp modelId="{1C821440-DE58-4E24-B1D2-C4121B2FAC8B}">
      <dsp:nvSpPr>
        <dsp:cNvPr id="0" name=""/>
        <dsp:cNvSpPr/>
      </dsp:nvSpPr>
      <dsp:spPr>
        <a:xfrm>
          <a:off x="6799877" y="795743"/>
          <a:ext cx="288327" cy="223362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L" sz="600" kern="1200"/>
        </a:p>
      </dsp:txBody>
      <dsp:txXfrm>
        <a:off x="6799877" y="840415"/>
        <a:ext cx="221318" cy="134018"/>
      </dsp:txXfrm>
    </dsp:sp>
    <dsp:sp modelId="{BB3D32D9-DE66-4B3F-8F49-BCB8773B43FD}">
      <dsp:nvSpPr>
        <dsp:cNvPr id="0" name=""/>
        <dsp:cNvSpPr/>
      </dsp:nvSpPr>
      <dsp:spPr>
        <a:xfrm>
          <a:off x="7207887" y="806624"/>
          <a:ext cx="897141" cy="30240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784" tIns="49784" rIns="49784" bIns="26670" numCol="1" spcCol="1270" anchor="t" anchorCtr="0">
          <a:noAutofit/>
        </a:bodyPr>
        <a:lstStyle/>
        <a:p>
          <a:pPr lvl="0" algn="l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700" kern="1200"/>
            <a:t>Ago </a:t>
          </a:r>
          <a:r>
            <a:rPr lang="es-ES" sz="700" kern="1200" dirty="0"/>
            <a:t>2020</a:t>
          </a:r>
          <a:endParaRPr lang="es-CL" sz="700" kern="1200" dirty="0"/>
        </a:p>
      </dsp:txBody>
      <dsp:txXfrm>
        <a:off x="7207887" y="806624"/>
        <a:ext cx="897141" cy="201600"/>
      </dsp:txXfrm>
    </dsp:sp>
    <dsp:sp modelId="{FD7716D6-4DE7-4A73-89EA-24ABAA7EC8BA}">
      <dsp:nvSpPr>
        <dsp:cNvPr id="0" name=""/>
        <dsp:cNvSpPr/>
      </dsp:nvSpPr>
      <dsp:spPr>
        <a:xfrm>
          <a:off x="7391639" y="1008224"/>
          <a:ext cx="897141" cy="95613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784" tIns="49784" rIns="49784" bIns="49784" numCol="1" spcCol="1270" anchor="t" anchorCtr="0">
          <a:noAutofit/>
        </a:bodyPr>
        <a:lstStyle/>
        <a:p>
          <a:pPr marL="57150" lvl="1" indent="-5715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L" sz="700" kern="1200" dirty="0"/>
            <a:t>Circular 3528 Modifica instrucciones sobre la evaluación de los factores de riesgos psicosociales laborales</a:t>
          </a:r>
        </a:p>
      </dsp:txBody>
      <dsp:txXfrm>
        <a:off x="7417915" y="1034500"/>
        <a:ext cx="844589" cy="903586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5214796-2B60-4846-A7D0-3555559E4D9D}">
      <dsp:nvSpPr>
        <dsp:cNvPr id="0" name=""/>
        <dsp:cNvSpPr/>
      </dsp:nvSpPr>
      <dsp:spPr>
        <a:xfrm>
          <a:off x="0" y="4601301"/>
          <a:ext cx="7343466" cy="754881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400" kern="1200" dirty="0" smtClean="0"/>
            <a:t>Entrega </a:t>
          </a:r>
          <a:r>
            <a:rPr lang="es-CL" sz="1400" kern="1200" smtClean="0"/>
            <a:t>de medidas</a:t>
          </a:r>
          <a:endParaRPr lang="es-CL" sz="1400" kern="1200" dirty="0"/>
        </a:p>
      </dsp:txBody>
      <dsp:txXfrm>
        <a:off x="0" y="4601301"/>
        <a:ext cx="7343466" cy="407636"/>
      </dsp:txXfrm>
    </dsp:sp>
    <dsp:sp modelId="{3CFD61B5-3EFA-4760-BBDC-AC5E67E0D6B2}">
      <dsp:nvSpPr>
        <dsp:cNvPr id="0" name=""/>
        <dsp:cNvSpPr/>
      </dsp:nvSpPr>
      <dsp:spPr>
        <a:xfrm>
          <a:off x="0" y="4993840"/>
          <a:ext cx="7343466" cy="347245"/>
        </a:xfrm>
        <a:prstGeom prst="rect">
          <a:avLst/>
        </a:prstGeom>
        <a:solidFill>
          <a:schemeClr val="accent3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16510" rIns="92456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300" kern="1200" dirty="0" smtClean="0"/>
            <a:t>Psicóloga ACHS entrega informe de medidas que serán conversadas con el comité de aplicación.</a:t>
          </a:r>
          <a:endParaRPr lang="es-CL" sz="1300" kern="1200" dirty="0"/>
        </a:p>
      </dsp:txBody>
      <dsp:txXfrm>
        <a:off x="0" y="4993840"/>
        <a:ext cx="7343466" cy="347245"/>
      </dsp:txXfrm>
    </dsp:sp>
    <dsp:sp modelId="{E4256D83-2E79-4BED-96A4-B23C15E1380E}">
      <dsp:nvSpPr>
        <dsp:cNvPr id="0" name=""/>
        <dsp:cNvSpPr/>
      </dsp:nvSpPr>
      <dsp:spPr>
        <a:xfrm rot="10800000">
          <a:off x="0" y="3451616"/>
          <a:ext cx="7343466" cy="1161008"/>
        </a:xfrm>
        <a:prstGeom prst="upArrowCallout">
          <a:avLst/>
        </a:prstGeom>
        <a:solidFill>
          <a:schemeClr val="accent3">
            <a:hueOff val="2812566"/>
            <a:satOff val="-4220"/>
            <a:lumOff val="-68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400" kern="1200" dirty="0" smtClean="0"/>
            <a:t>Grupo de discusión </a:t>
          </a:r>
          <a:endParaRPr lang="es-CL" sz="1400" kern="1200" dirty="0"/>
        </a:p>
      </dsp:txBody>
      <dsp:txXfrm rot="-10800000">
        <a:off x="0" y="3451616"/>
        <a:ext cx="7343466" cy="407513"/>
      </dsp:txXfrm>
    </dsp:sp>
    <dsp:sp modelId="{A1FC85C2-B458-4F47-A59C-5EE78B25360F}">
      <dsp:nvSpPr>
        <dsp:cNvPr id="0" name=""/>
        <dsp:cNvSpPr/>
      </dsp:nvSpPr>
      <dsp:spPr>
        <a:xfrm>
          <a:off x="0" y="3859130"/>
          <a:ext cx="7343466" cy="347141"/>
        </a:xfrm>
        <a:prstGeom prst="rect">
          <a:avLst/>
        </a:prstGeom>
        <a:solidFill>
          <a:schemeClr val="accent3">
            <a:tint val="40000"/>
            <a:alpha val="90000"/>
            <a:hueOff val="1786142"/>
            <a:satOff val="-2299"/>
            <a:lumOff val="-179"/>
            <a:alphaOff val="0"/>
          </a:schemeClr>
        </a:solidFill>
        <a:ln w="25400" cap="flat" cmpd="sng" algn="ctr">
          <a:solidFill>
            <a:schemeClr val="accent3">
              <a:tint val="40000"/>
              <a:alpha val="90000"/>
              <a:hueOff val="1786142"/>
              <a:satOff val="-2299"/>
              <a:lumOff val="-179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16510" rIns="92456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300" kern="1200" dirty="0" smtClean="0"/>
            <a:t>Conversación de los resultados de la encuesta con 8 trabajadores y psicóloga ACHS</a:t>
          </a:r>
          <a:endParaRPr lang="es-CL" sz="1300" kern="1200" dirty="0"/>
        </a:p>
      </dsp:txBody>
      <dsp:txXfrm>
        <a:off x="0" y="3859130"/>
        <a:ext cx="7343466" cy="347141"/>
      </dsp:txXfrm>
    </dsp:sp>
    <dsp:sp modelId="{6E99A9F5-20C5-4A62-A208-8B0686054B33}">
      <dsp:nvSpPr>
        <dsp:cNvPr id="0" name=""/>
        <dsp:cNvSpPr/>
      </dsp:nvSpPr>
      <dsp:spPr>
        <a:xfrm rot="10800000">
          <a:off x="0" y="2301931"/>
          <a:ext cx="7343466" cy="1161008"/>
        </a:xfrm>
        <a:prstGeom prst="upArrowCallout">
          <a:avLst/>
        </a:prstGeom>
        <a:solidFill>
          <a:schemeClr val="accent3">
            <a:hueOff val="5625132"/>
            <a:satOff val="-8440"/>
            <a:lumOff val="-137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400" kern="1200" dirty="0" smtClean="0"/>
            <a:t>Cuestionario CEAL-SM SUSESO</a:t>
          </a:r>
          <a:endParaRPr lang="es-CL" sz="1400" kern="1200" dirty="0"/>
        </a:p>
      </dsp:txBody>
      <dsp:txXfrm rot="-10800000">
        <a:off x="0" y="2301931"/>
        <a:ext cx="7343466" cy="407513"/>
      </dsp:txXfrm>
    </dsp:sp>
    <dsp:sp modelId="{F9551F03-F9E5-47AB-9AE0-A332E7FBA389}">
      <dsp:nvSpPr>
        <dsp:cNvPr id="0" name=""/>
        <dsp:cNvSpPr/>
      </dsp:nvSpPr>
      <dsp:spPr>
        <a:xfrm>
          <a:off x="0" y="2709445"/>
          <a:ext cx="3671733" cy="347141"/>
        </a:xfrm>
        <a:prstGeom prst="rect">
          <a:avLst/>
        </a:prstGeom>
        <a:solidFill>
          <a:schemeClr val="accent3">
            <a:tint val="40000"/>
            <a:alpha val="90000"/>
            <a:hueOff val="3572285"/>
            <a:satOff val="-4598"/>
            <a:lumOff val="-358"/>
            <a:alphaOff val="0"/>
          </a:schemeClr>
        </a:solidFill>
        <a:ln w="25400" cap="flat" cmpd="sng" algn="ctr">
          <a:solidFill>
            <a:schemeClr val="accent3">
              <a:tint val="40000"/>
              <a:alpha val="90000"/>
              <a:hueOff val="3572285"/>
              <a:satOff val="-4598"/>
              <a:lumOff val="-358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16510" rIns="92456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300" kern="1200" dirty="0" smtClean="0"/>
            <a:t>Aplican el cuestionario </a:t>
          </a:r>
          <a:r>
            <a:rPr lang="es-CL" sz="1300" kern="1200" dirty="0" err="1" smtClean="0"/>
            <a:t>on</a:t>
          </a:r>
          <a:r>
            <a:rPr lang="es-CL" sz="1300" kern="1200" dirty="0" smtClean="0"/>
            <a:t> line</a:t>
          </a:r>
          <a:endParaRPr lang="es-CL" sz="1300" kern="1200" dirty="0"/>
        </a:p>
      </dsp:txBody>
      <dsp:txXfrm>
        <a:off x="0" y="2709445"/>
        <a:ext cx="3671733" cy="347141"/>
      </dsp:txXfrm>
    </dsp:sp>
    <dsp:sp modelId="{AC70717C-6395-4381-9371-FEAEBDB8B1C5}">
      <dsp:nvSpPr>
        <dsp:cNvPr id="0" name=""/>
        <dsp:cNvSpPr/>
      </dsp:nvSpPr>
      <dsp:spPr>
        <a:xfrm>
          <a:off x="3671733" y="2709445"/>
          <a:ext cx="3671733" cy="347141"/>
        </a:xfrm>
        <a:prstGeom prst="rect">
          <a:avLst/>
        </a:prstGeom>
        <a:solidFill>
          <a:schemeClr val="accent3">
            <a:tint val="40000"/>
            <a:alpha val="90000"/>
            <a:hueOff val="5358427"/>
            <a:satOff val="-6896"/>
            <a:lumOff val="-537"/>
            <a:alphaOff val="0"/>
          </a:schemeClr>
        </a:solidFill>
        <a:ln w="25400" cap="flat" cmpd="sng" algn="ctr">
          <a:solidFill>
            <a:schemeClr val="accent3">
              <a:tint val="40000"/>
              <a:alpha val="90000"/>
              <a:hueOff val="5358427"/>
              <a:satOff val="-6896"/>
              <a:lumOff val="-53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16510" rIns="92456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300" kern="1200" dirty="0" smtClean="0"/>
            <a:t>Revisión de resultados.</a:t>
          </a:r>
          <a:endParaRPr lang="es-CL" sz="1300" kern="1200" dirty="0"/>
        </a:p>
      </dsp:txBody>
      <dsp:txXfrm>
        <a:off x="3671733" y="2709445"/>
        <a:ext cx="3671733" cy="347141"/>
      </dsp:txXfrm>
    </dsp:sp>
    <dsp:sp modelId="{4760A90A-FE61-45A0-8C13-50265DE41843}">
      <dsp:nvSpPr>
        <dsp:cNvPr id="0" name=""/>
        <dsp:cNvSpPr/>
      </dsp:nvSpPr>
      <dsp:spPr>
        <a:xfrm rot="10800000">
          <a:off x="0" y="1152246"/>
          <a:ext cx="7343466" cy="1161008"/>
        </a:xfrm>
        <a:prstGeom prst="upArrowCallout">
          <a:avLst/>
        </a:prstGeom>
        <a:solidFill>
          <a:schemeClr val="accent3">
            <a:hueOff val="8437698"/>
            <a:satOff val="-12660"/>
            <a:lumOff val="-205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400" kern="1200" dirty="0" smtClean="0"/>
            <a:t>Sensibilización</a:t>
          </a:r>
          <a:endParaRPr lang="es-CL" sz="1400" kern="1200" dirty="0"/>
        </a:p>
      </dsp:txBody>
      <dsp:txXfrm rot="-10800000">
        <a:off x="0" y="1152246"/>
        <a:ext cx="7343466" cy="407513"/>
      </dsp:txXfrm>
    </dsp:sp>
    <dsp:sp modelId="{F577C4A1-2C76-4BC6-A16B-DC8C2DAE7E0B}">
      <dsp:nvSpPr>
        <dsp:cNvPr id="0" name=""/>
        <dsp:cNvSpPr/>
      </dsp:nvSpPr>
      <dsp:spPr>
        <a:xfrm>
          <a:off x="0" y="1559760"/>
          <a:ext cx="7343466" cy="347141"/>
        </a:xfrm>
        <a:prstGeom prst="rect">
          <a:avLst/>
        </a:prstGeom>
        <a:solidFill>
          <a:schemeClr val="accent3">
            <a:tint val="40000"/>
            <a:alpha val="90000"/>
            <a:hueOff val="7144569"/>
            <a:satOff val="-9195"/>
            <a:lumOff val="-717"/>
            <a:alphaOff val="0"/>
          </a:schemeClr>
        </a:solidFill>
        <a:ln w="25400" cap="flat" cmpd="sng" algn="ctr">
          <a:solidFill>
            <a:schemeClr val="accent3">
              <a:tint val="40000"/>
              <a:alpha val="90000"/>
              <a:hueOff val="7144569"/>
              <a:satOff val="-9195"/>
              <a:lumOff val="-71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16510" rIns="92456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300" kern="1200" dirty="0" smtClean="0"/>
            <a:t>Informar a los trabajadores  sobre el programa de vigilancia y sus pasos a seguir. </a:t>
          </a:r>
          <a:endParaRPr lang="es-CL" sz="1300" kern="1200" dirty="0"/>
        </a:p>
      </dsp:txBody>
      <dsp:txXfrm>
        <a:off x="0" y="1559760"/>
        <a:ext cx="7343466" cy="347141"/>
      </dsp:txXfrm>
    </dsp:sp>
    <dsp:sp modelId="{4A528BCA-7956-4309-A83D-0B788BE419FE}">
      <dsp:nvSpPr>
        <dsp:cNvPr id="0" name=""/>
        <dsp:cNvSpPr/>
      </dsp:nvSpPr>
      <dsp:spPr>
        <a:xfrm rot="10800000">
          <a:off x="0" y="2561"/>
          <a:ext cx="7343466" cy="1161008"/>
        </a:xfrm>
        <a:prstGeom prst="upArrowCallout">
          <a:avLst/>
        </a:prstGeom>
        <a:solidFill>
          <a:schemeClr val="accent3">
            <a:hueOff val="11250264"/>
            <a:satOff val="-16880"/>
            <a:lumOff val="-274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400" kern="1200" dirty="0" smtClean="0"/>
            <a:t>Conformación Comité de Aplicación</a:t>
          </a:r>
          <a:endParaRPr lang="es-CL" sz="1400" kern="1200" dirty="0"/>
        </a:p>
      </dsp:txBody>
      <dsp:txXfrm rot="-10800000">
        <a:off x="0" y="2561"/>
        <a:ext cx="7343466" cy="407513"/>
      </dsp:txXfrm>
    </dsp:sp>
    <dsp:sp modelId="{06057222-1AB9-4FDA-B9C3-FA3FDFE96991}">
      <dsp:nvSpPr>
        <dsp:cNvPr id="0" name=""/>
        <dsp:cNvSpPr/>
      </dsp:nvSpPr>
      <dsp:spPr>
        <a:xfrm>
          <a:off x="0" y="410075"/>
          <a:ext cx="3671733" cy="347141"/>
        </a:xfrm>
        <a:prstGeom prst="rect">
          <a:avLst/>
        </a:prstGeom>
        <a:solidFill>
          <a:schemeClr val="accent3">
            <a:tint val="40000"/>
            <a:alpha val="90000"/>
            <a:hueOff val="8930711"/>
            <a:satOff val="-11494"/>
            <a:lumOff val="-896"/>
            <a:alphaOff val="0"/>
          </a:schemeClr>
        </a:solidFill>
        <a:ln w="25400" cap="flat" cmpd="sng" algn="ctr">
          <a:solidFill>
            <a:schemeClr val="accent3">
              <a:tint val="40000"/>
              <a:alpha val="90000"/>
              <a:hueOff val="8930711"/>
              <a:satOff val="-11494"/>
              <a:lumOff val="-896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16510" rIns="92456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300" kern="1200" dirty="0" smtClean="0"/>
            <a:t>Una parte del empleador y otro de los trabajadores.</a:t>
          </a:r>
          <a:endParaRPr lang="es-CL" sz="1300" kern="1200" dirty="0"/>
        </a:p>
      </dsp:txBody>
      <dsp:txXfrm>
        <a:off x="0" y="410075"/>
        <a:ext cx="3671733" cy="347141"/>
      </dsp:txXfrm>
    </dsp:sp>
    <dsp:sp modelId="{F4A6AA83-65B1-4A0D-8F71-575259ECD2DB}">
      <dsp:nvSpPr>
        <dsp:cNvPr id="0" name=""/>
        <dsp:cNvSpPr/>
      </dsp:nvSpPr>
      <dsp:spPr>
        <a:xfrm>
          <a:off x="3671733" y="410075"/>
          <a:ext cx="3671733" cy="347141"/>
        </a:xfrm>
        <a:prstGeom prst="rect">
          <a:avLst/>
        </a:prstGeom>
        <a:solidFill>
          <a:schemeClr val="accent3">
            <a:tint val="40000"/>
            <a:alpha val="90000"/>
            <a:hueOff val="10716854"/>
            <a:satOff val="-13793"/>
            <a:lumOff val="-1075"/>
            <a:alphaOff val="0"/>
          </a:schemeClr>
        </a:solidFill>
        <a:ln w="25400" cap="flat" cmpd="sng" algn="ctr">
          <a:solidFill>
            <a:schemeClr val="accent3">
              <a:tint val="40000"/>
              <a:alpha val="90000"/>
              <a:hueOff val="10716854"/>
              <a:satOff val="-13793"/>
              <a:lumOff val="-1075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16510" rIns="92456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300" kern="1200" dirty="0" smtClean="0"/>
            <a:t>Van a implementar el programa de vigilancia.</a:t>
          </a:r>
          <a:endParaRPr lang="es-CL" sz="1300" kern="1200" dirty="0"/>
        </a:p>
      </dsp:txBody>
      <dsp:txXfrm>
        <a:off x="3671733" y="410075"/>
        <a:ext cx="3671733" cy="34714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3">
  <dgm:title val=""/>
  <dgm:desc val=""/>
  <dgm:catLst>
    <dgm:cat type="process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3" destOrd="0"/>
        <dgm:cxn modelId="12" srcId="1" destId="11" srcOrd="0" destOrd="0"/>
        <dgm:cxn modelId="23" srcId="2" destId="21" srcOrd="0" destOrd="0"/>
        <dgm:cxn modelId="34" srcId="3" destId="3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fact="0.3333"/>
      <dgm:constr type="w" for="des" forName="parTx"/>
      <dgm:constr type="h" for="des" forName="parTx" op="equ"/>
      <dgm:constr type="h" for="des" forName="parSh" op="equ"/>
      <dgm:constr type="w" for="des" forName="desTx"/>
      <dgm:constr type="h" for="des" forName="desTx" op="equ"/>
      <dgm:constr type="w" for="des" forName="parSh"/>
      <dgm:constr type="primFontSz" for="des" forName="parTx" val="65"/>
      <dgm:constr type="secFontSz" for="des" forName="desTx" refType="primFontSz" refFor="des" refForName="parTx" op="equ"/>
      <dgm:constr type="primFontSz" for="des" forName="connTx" refType="primFontSz" refFor="des" refForName="parTx" fact="0.8"/>
      <dgm:constr type="primFontSz" for="des" forName="connTx" refType="primFontSz" refFor="des" refForName="parTx" op="lte" fact="0.8"/>
      <dgm:constr type="h" for="des" forName="parTx" refType="primFontSz" refFor="des" refForName="parTx" fact="0.8"/>
      <dgm:constr type="h" for="des" forName="parSh" refType="primFontSz" refFor="des" refForName="parTx" fact="1.2"/>
      <dgm:constr type="h" for="des" forName="desTx" refType="primFontSz" refFor="des" refForName="parTx" fact="1.6"/>
      <dgm:constr type="h" for="des" forName="parSh" refType="h" refFor="des" refForName="parTx" op="lte" fact="1.5"/>
      <dgm:constr type="h" for="des" forName="parSh" refType="h" refFor="des" refForName="parTx" op="gte" fact="1.5"/>
    </dgm:constrLst>
    <dgm:ruleLst>
      <dgm:rule type="w" for="ch" forName="composite" val="0" fact="NaN" max="NaN"/>
      <dgm:rule type="primFontSz" for="des" forName="parTx" val="5" fact="NaN" max="NaN"/>
    </dgm:ruleLst>
    <dgm:forEach name="Name3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func="var" arg="dir" op="equ" val="norm">
            <dgm:constrLst>
              <dgm:constr type="h" refType="w" fact="1000"/>
              <dgm:constr type="l" for="ch" forName="parTx"/>
              <dgm:constr type="w" for="ch" forName="parTx" refType="w" fact="0.83"/>
              <dgm:constr type="t" for="ch" forName="parTx"/>
              <dgm:constr type="l" for="ch" forName="parSh"/>
              <dgm:constr type="w" for="ch" forName="parSh" refType="w" refFor="ch" refForName="parTx"/>
              <dgm:constr type="t" for="ch" forName="parSh"/>
              <dgm:constr type="l" for="ch" forName="desTx" refType="w" fact="0.17"/>
              <dgm:constr type="w" for="ch" forName="desTx" refType="w" refFor="ch" refForName="parTx"/>
              <dgm:constr type="t" for="ch" forName="desTx" refType="h" refFor="ch" refForName="parTx"/>
            </dgm:constrLst>
          </dgm:if>
          <dgm:else name="Name6">
            <dgm:constrLst>
              <dgm:constr type="h" refType="w" fact="1000"/>
              <dgm:constr type="l" for="ch" forName="parTx" refType="w" fact="0.17"/>
              <dgm:constr type="w" for="ch" forName="parTx" refType="w" fact="0.83"/>
              <dgm:constr type="t" for="ch" forName="parTx"/>
              <dgm:constr type="l" for="ch" forName="parSh" refType="w" fact="0.15"/>
              <dgm:constr type="w" for="ch" forName="parSh" refType="w" refFor="ch" refForName="parTx"/>
              <dgm:constr type="t" for="ch" forName="parSh"/>
              <dgm:constr type="l" for="ch" forName="desTx"/>
              <dgm:constr type="w" for="ch" forName="desTx" refType="w" refFor="ch" refForName="parTx"/>
              <dgm:constr type="t" for="ch" forName="desTx" refType="h" refFor="ch" refForName="parTx"/>
            </dgm:constrLst>
          </dgm:else>
        </dgm:choose>
        <dgm:ruleLst>
          <dgm:rule type="h" val="INF" fact="NaN" max="NaN"/>
        </dgm:ruleLst>
        <dgm:layoutNode name="parTx">
          <dgm:varLst>
            <dgm:chMax val="0"/>
            <dgm:chPref val="0"/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 zOrderOff="1" hideGeom="1">
            <dgm:adjLst>
              <dgm:adj idx="1" val="0.1"/>
            </dgm:adjLst>
          </dgm:shape>
          <dgm:presOf axis="self" ptType="node"/>
          <dgm:constrLst>
            <dgm:constr type="h" refType="w" op="lte" fact="0.4"/>
            <dgm:constr type="bMarg" refType="primFontSz" fact="0.3"/>
            <dgm:constr type="h"/>
          </dgm:constrLst>
          <dgm:ruleLst>
            <dgm:rule type="h" val="INF" fact="NaN" max="NaN"/>
          </dgm:ruleLst>
        </dgm:layoutNode>
        <dgm:layoutNode name="parSh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 ptType="node"/>
          <dgm:constrLst>
            <dgm:constr type="h"/>
          </dgm:constrLst>
          <dgm:ruleLst/>
        </dgm:layoutNode>
        <dgm:layoutNode name="desTx" styleLbl="f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Rect" r:blip="">
            <dgm:adjLst>
              <dgm:adj idx="1" val="0.1"/>
            </dgm:adjLst>
          </dgm:shape>
          <dgm:presOf axis="des" ptType="node"/>
          <dgm:constrLst>
            <dgm:constr type="secFontSz" val="65"/>
            <dgm:constr type="primFontSz" refType="secFontSz"/>
            <dgm:constr type="h"/>
          </dgm:constrLst>
          <dgm:ruleLst>
            <dgm:rule type="h" val="INF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parTx"/>
            <dgm:param type="dstNode" val="parTx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3">
  <dgm:title val=""/>
  <dgm:desc val=""/>
  <dgm:catLst>
    <dgm:cat type="process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3" destOrd="0"/>
        <dgm:cxn modelId="12" srcId="1" destId="11" srcOrd="0" destOrd="0"/>
        <dgm:cxn modelId="23" srcId="2" destId="21" srcOrd="0" destOrd="0"/>
        <dgm:cxn modelId="34" srcId="3" destId="3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fact="0.3333"/>
      <dgm:constr type="w" for="des" forName="parTx"/>
      <dgm:constr type="h" for="des" forName="parTx" op="equ"/>
      <dgm:constr type="h" for="des" forName="parSh" op="equ"/>
      <dgm:constr type="w" for="des" forName="desTx"/>
      <dgm:constr type="h" for="des" forName="desTx" op="equ"/>
      <dgm:constr type="w" for="des" forName="parSh"/>
      <dgm:constr type="primFontSz" for="des" forName="parTx" val="65"/>
      <dgm:constr type="secFontSz" for="des" forName="desTx" refType="primFontSz" refFor="des" refForName="parTx" op="equ"/>
      <dgm:constr type="primFontSz" for="des" forName="connTx" refType="primFontSz" refFor="des" refForName="parTx" fact="0.8"/>
      <dgm:constr type="primFontSz" for="des" forName="connTx" refType="primFontSz" refFor="des" refForName="parTx" op="lte" fact="0.8"/>
      <dgm:constr type="h" for="des" forName="parTx" refType="primFontSz" refFor="des" refForName="parTx" fact="0.8"/>
      <dgm:constr type="h" for="des" forName="parSh" refType="primFontSz" refFor="des" refForName="parTx" fact="1.2"/>
      <dgm:constr type="h" for="des" forName="desTx" refType="primFontSz" refFor="des" refForName="parTx" fact="1.6"/>
      <dgm:constr type="h" for="des" forName="parSh" refType="h" refFor="des" refForName="parTx" op="lte" fact="1.5"/>
      <dgm:constr type="h" for="des" forName="parSh" refType="h" refFor="des" refForName="parTx" op="gte" fact="1.5"/>
    </dgm:constrLst>
    <dgm:ruleLst>
      <dgm:rule type="w" for="ch" forName="composite" val="0" fact="NaN" max="NaN"/>
      <dgm:rule type="primFontSz" for="des" forName="parTx" val="5" fact="NaN" max="NaN"/>
    </dgm:ruleLst>
    <dgm:forEach name="Name3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func="var" arg="dir" op="equ" val="norm">
            <dgm:constrLst>
              <dgm:constr type="h" refType="w" fact="1000"/>
              <dgm:constr type="l" for="ch" forName="parTx"/>
              <dgm:constr type="w" for="ch" forName="parTx" refType="w" fact="0.83"/>
              <dgm:constr type="t" for="ch" forName="parTx"/>
              <dgm:constr type="l" for="ch" forName="parSh"/>
              <dgm:constr type="w" for="ch" forName="parSh" refType="w" refFor="ch" refForName="parTx"/>
              <dgm:constr type="t" for="ch" forName="parSh"/>
              <dgm:constr type="l" for="ch" forName="desTx" refType="w" fact="0.17"/>
              <dgm:constr type="w" for="ch" forName="desTx" refType="w" refFor="ch" refForName="parTx"/>
              <dgm:constr type="t" for="ch" forName="desTx" refType="h" refFor="ch" refForName="parTx"/>
            </dgm:constrLst>
          </dgm:if>
          <dgm:else name="Name6">
            <dgm:constrLst>
              <dgm:constr type="h" refType="w" fact="1000"/>
              <dgm:constr type="l" for="ch" forName="parTx" refType="w" fact="0.17"/>
              <dgm:constr type="w" for="ch" forName="parTx" refType="w" fact="0.83"/>
              <dgm:constr type="t" for="ch" forName="parTx"/>
              <dgm:constr type="l" for="ch" forName="parSh" refType="w" fact="0.15"/>
              <dgm:constr type="w" for="ch" forName="parSh" refType="w" refFor="ch" refForName="parTx"/>
              <dgm:constr type="t" for="ch" forName="parSh"/>
              <dgm:constr type="l" for="ch" forName="desTx"/>
              <dgm:constr type="w" for="ch" forName="desTx" refType="w" refFor="ch" refForName="parTx"/>
              <dgm:constr type="t" for="ch" forName="desTx" refType="h" refFor="ch" refForName="parTx"/>
            </dgm:constrLst>
          </dgm:else>
        </dgm:choose>
        <dgm:ruleLst>
          <dgm:rule type="h" val="INF" fact="NaN" max="NaN"/>
        </dgm:ruleLst>
        <dgm:layoutNode name="parTx">
          <dgm:varLst>
            <dgm:chMax val="0"/>
            <dgm:chPref val="0"/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 zOrderOff="1" hideGeom="1">
            <dgm:adjLst>
              <dgm:adj idx="1" val="0.1"/>
            </dgm:adjLst>
          </dgm:shape>
          <dgm:presOf axis="self" ptType="node"/>
          <dgm:constrLst>
            <dgm:constr type="h" refType="w" op="lte" fact="0.4"/>
            <dgm:constr type="bMarg" refType="primFontSz" fact="0.3"/>
            <dgm:constr type="h"/>
          </dgm:constrLst>
          <dgm:ruleLst>
            <dgm:rule type="h" val="INF" fact="NaN" max="NaN"/>
          </dgm:ruleLst>
        </dgm:layoutNode>
        <dgm:layoutNode name="parSh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 ptType="node"/>
          <dgm:constrLst>
            <dgm:constr type="h"/>
          </dgm:constrLst>
          <dgm:ruleLst/>
        </dgm:layoutNode>
        <dgm:layoutNode name="desTx" styleLbl="f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Rect" r:blip="">
            <dgm:adjLst>
              <dgm:adj idx="1" val="0.1"/>
            </dgm:adjLst>
          </dgm:shape>
          <dgm:presOf axis="des" ptType="node"/>
          <dgm:constrLst>
            <dgm:constr type="secFontSz" val="65"/>
            <dgm:constr type="primFontSz" refType="secFontSz"/>
            <dgm:constr type="h"/>
          </dgm:constrLst>
          <dgm:ruleLst>
            <dgm:rule type="h" val="INF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parTx"/>
            <dgm:param type="dstNode" val="parTx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rocess3">
  <dgm:title val=""/>
  <dgm:desc val=""/>
  <dgm:catLst>
    <dgm:cat type="process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3" destOrd="0"/>
        <dgm:cxn modelId="12" srcId="1" destId="11" srcOrd="0" destOrd="0"/>
        <dgm:cxn modelId="23" srcId="2" destId="21" srcOrd="0" destOrd="0"/>
        <dgm:cxn modelId="34" srcId="3" destId="3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fact="0.3333"/>
      <dgm:constr type="w" for="des" forName="parTx"/>
      <dgm:constr type="h" for="des" forName="parTx" op="equ"/>
      <dgm:constr type="h" for="des" forName="parSh" op="equ"/>
      <dgm:constr type="w" for="des" forName="desTx"/>
      <dgm:constr type="h" for="des" forName="desTx" op="equ"/>
      <dgm:constr type="w" for="des" forName="parSh"/>
      <dgm:constr type="primFontSz" for="des" forName="parTx" val="65"/>
      <dgm:constr type="secFontSz" for="des" forName="desTx" refType="primFontSz" refFor="des" refForName="parTx" op="equ"/>
      <dgm:constr type="primFontSz" for="des" forName="connTx" refType="primFontSz" refFor="des" refForName="parTx" fact="0.8"/>
      <dgm:constr type="primFontSz" for="des" forName="connTx" refType="primFontSz" refFor="des" refForName="parTx" op="lte" fact="0.8"/>
      <dgm:constr type="h" for="des" forName="parTx" refType="primFontSz" refFor="des" refForName="parTx" fact="0.8"/>
      <dgm:constr type="h" for="des" forName="parSh" refType="primFontSz" refFor="des" refForName="parTx" fact="1.2"/>
      <dgm:constr type="h" for="des" forName="desTx" refType="primFontSz" refFor="des" refForName="parTx" fact="1.6"/>
      <dgm:constr type="h" for="des" forName="parSh" refType="h" refFor="des" refForName="parTx" op="lte" fact="1.5"/>
      <dgm:constr type="h" for="des" forName="parSh" refType="h" refFor="des" refForName="parTx" op="gte" fact="1.5"/>
    </dgm:constrLst>
    <dgm:ruleLst>
      <dgm:rule type="w" for="ch" forName="composite" val="0" fact="NaN" max="NaN"/>
      <dgm:rule type="primFontSz" for="des" forName="parTx" val="5" fact="NaN" max="NaN"/>
    </dgm:ruleLst>
    <dgm:forEach name="Name3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func="var" arg="dir" op="equ" val="norm">
            <dgm:constrLst>
              <dgm:constr type="h" refType="w" fact="1000"/>
              <dgm:constr type="l" for="ch" forName="parTx"/>
              <dgm:constr type="w" for="ch" forName="parTx" refType="w" fact="0.83"/>
              <dgm:constr type="t" for="ch" forName="parTx"/>
              <dgm:constr type="l" for="ch" forName="parSh"/>
              <dgm:constr type="w" for="ch" forName="parSh" refType="w" refFor="ch" refForName="parTx"/>
              <dgm:constr type="t" for="ch" forName="parSh"/>
              <dgm:constr type="l" for="ch" forName="desTx" refType="w" fact="0.17"/>
              <dgm:constr type="w" for="ch" forName="desTx" refType="w" refFor="ch" refForName="parTx"/>
              <dgm:constr type="t" for="ch" forName="desTx" refType="h" refFor="ch" refForName="parTx"/>
            </dgm:constrLst>
          </dgm:if>
          <dgm:else name="Name6">
            <dgm:constrLst>
              <dgm:constr type="h" refType="w" fact="1000"/>
              <dgm:constr type="l" for="ch" forName="parTx" refType="w" fact="0.17"/>
              <dgm:constr type="w" for="ch" forName="parTx" refType="w" fact="0.83"/>
              <dgm:constr type="t" for="ch" forName="parTx"/>
              <dgm:constr type="l" for="ch" forName="parSh" refType="w" fact="0.15"/>
              <dgm:constr type="w" for="ch" forName="parSh" refType="w" refFor="ch" refForName="parTx"/>
              <dgm:constr type="t" for="ch" forName="parSh"/>
              <dgm:constr type="l" for="ch" forName="desTx"/>
              <dgm:constr type="w" for="ch" forName="desTx" refType="w" refFor="ch" refForName="parTx"/>
              <dgm:constr type="t" for="ch" forName="desTx" refType="h" refFor="ch" refForName="parTx"/>
            </dgm:constrLst>
          </dgm:else>
        </dgm:choose>
        <dgm:ruleLst>
          <dgm:rule type="h" val="INF" fact="NaN" max="NaN"/>
        </dgm:ruleLst>
        <dgm:layoutNode name="parTx">
          <dgm:varLst>
            <dgm:chMax val="0"/>
            <dgm:chPref val="0"/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 zOrderOff="1" hideGeom="1">
            <dgm:adjLst>
              <dgm:adj idx="1" val="0.1"/>
            </dgm:adjLst>
          </dgm:shape>
          <dgm:presOf axis="self" ptType="node"/>
          <dgm:constrLst>
            <dgm:constr type="h" refType="w" op="lte" fact="0.4"/>
            <dgm:constr type="bMarg" refType="primFontSz" fact="0.3"/>
            <dgm:constr type="h"/>
          </dgm:constrLst>
          <dgm:ruleLst>
            <dgm:rule type="h" val="INF" fact="NaN" max="NaN"/>
          </dgm:ruleLst>
        </dgm:layoutNode>
        <dgm:layoutNode name="parSh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 ptType="node"/>
          <dgm:constrLst>
            <dgm:constr type="h"/>
          </dgm:constrLst>
          <dgm:ruleLst/>
        </dgm:layoutNode>
        <dgm:layoutNode name="desTx" styleLbl="f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Rect" r:blip="">
            <dgm:adjLst>
              <dgm:adj idx="1" val="0.1"/>
            </dgm:adjLst>
          </dgm:shape>
          <dgm:presOf axis="des" ptType="node"/>
          <dgm:constrLst>
            <dgm:constr type="secFontSz" val="65"/>
            <dgm:constr type="primFontSz" refType="secFontSz"/>
            <dgm:constr type="h"/>
          </dgm:constrLst>
          <dgm:ruleLst>
            <dgm:rule type="h" val="INF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parTx"/>
            <dgm:param type="dstNode" val="parTx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2 Marcador de fecha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F3D9CBE0-EF1E-486C-960C-82486566A44A}" type="datetimeFigureOut">
              <a:rPr lang="es-CL" smtClean="0"/>
              <a:t>25-04-2023</a:t>
            </a:fld>
            <a:endParaRPr lang="es-CL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F5F6CA26-2631-4C3A-A827-FF6E1CECA113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8446605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7A1417-BA75-4B49-852D-E2D1CB0908A3}" type="datetimeFigureOut">
              <a:rPr lang="es-CL" smtClean="0"/>
              <a:t>25-04-2023</a:t>
            </a:fld>
            <a:endParaRPr lang="es-CL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817563" y="696913"/>
            <a:ext cx="5375275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701675" y="4416425"/>
            <a:ext cx="5607050" cy="418306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A75741-5588-490B-B94D-2C7BE1444E92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3478177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3" name="2 Marcador de notas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algn="ctr"/>
            <a:endParaRPr lang="es-CL" sz="1000" dirty="0">
              <a:cs typeface="Arial" pitchFamily="34" charset="0"/>
            </a:endParaRPr>
          </a:p>
          <a:p>
            <a:pPr eaLnBrk="1" hangingPunct="1">
              <a:spcBef>
                <a:spcPct val="0"/>
              </a:spcBef>
            </a:pPr>
            <a:r>
              <a:rPr lang="es-CL" sz="1600" dirty="0"/>
              <a:t>(</a:t>
            </a:r>
            <a:r>
              <a:rPr lang="es-CL" sz="1600" dirty="0" err="1"/>
              <a:t>Landy</a:t>
            </a:r>
            <a:r>
              <a:rPr lang="es-CL" sz="1600" dirty="0"/>
              <a:t> y </a:t>
            </a:r>
            <a:r>
              <a:rPr lang="es-CL" sz="1600" dirty="0" err="1"/>
              <a:t>Conte</a:t>
            </a:r>
            <a:r>
              <a:rPr lang="es-CL" sz="1600" dirty="0"/>
              <a:t>, 2005)</a:t>
            </a:r>
          </a:p>
          <a:p>
            <a:pPr eaLnBrk="1" hangingPunct="1">
              <a:spcBef>
                <a:spcPct val="0"/>
              </a:spcBef>
            </a:pPr>
            <a:r>
              <a:rPr lang="es-CL" sz="1600" b="1" dirty="0"/>
              <a:t>Factores Psicosociales:</a:t>
            </a:r>
          </a:p>
          <a:p>
            <a:pPr eaLnBrk="1" hangingPunct="1">
              <a:spcBef>
                <a:spcPct val="0"/>
              </a:spcBef>
            </a:pPr>
            <a:r>
              <a:rPr lang="es-CL" dirty="0"/>
              <a:t>Características percibidas de nuestro medioambiente laboral y organización del trabajo, que tiene una connotación emocional</a:t>
            </a:r>
          </a:p>
          <a:p>
            <a:pPr eaLnBrk="1" hangingPunct="1">
              <a:spcBef>
                <a:spcPct val="0"/>
              </a:spcBef>
            </a:pPr>
            <a:endParaRPr lang="es-CL" dirty="0"/>
          </a:p>
          <a:p>
            <a:pPr eaLnBrk="1" hangingPunct="1">
              <a:spcBef>
                <a:spcPct val="0"/>
              </a:spcBef>
            </a:pPr>
            <a:r>
              <a:rPr lang="es-CL" sz="1800" dirty="0"/>
              <a:t>Respuestas</a:t>
            </a:r>
          </a:p>
          <a:p>
            <a:pPr lvl="1" eaLnBrk="1" hangingPunct="1">
              <a:spcBef>
                <a:spcPct val="0"/>
              </a:spcBef>
            </a:pPr>
            <a:r>
              <a:rPr lang="es-CL" sz="1300" dirty="0"/>
              <a:t>Fisiológicas: Cardiovasculares, Gastrointestinales, musculo esqueléticas (mecanismos </a:t>
            </a:r>
            <a:r>
              <a:rPr lang="es-CL" sz="1300" dirty="0" err="1"/>
              <a:t>inmunologicos</a:t>
            </a:r>
            <a:r>
              <a:rPr lang="es-CL" sz="1300" dirty="0"/>
              <a:t>, </a:t>
            </a:r>
            <a:r>
              <a:rPr lang="es-CL" sz="1300" dirty="0" err="1"/>
              <a:t>acidos</a:t>
            </a:r>
            <a:r>
              <a:rPr lang="es-CL" sz="1300" dirty="0"/>
              <a:t> digestivos, reacciones en piel, disfunciones sexuales, postura)</a:t>
            </a:r>
          </a:p>
          <a:p>
            <a:pPr lvl="1" eaLnBrk="1" hangingPunct="1">
              <a:spcBef>
                <a:spcPct val="0"/>
              </a:spcBef>
            </a:pPr>
            <a:r>
              <a:rPr lang="es-CL" sz="1300" dirty="0"/>
              <a:t>Psicológicas: depresión, ansiedad, </a:t>
            </a:r>
            <a:r>
              <a:rPr lang="es-CL" sz="1300" dirty="0" err="1"/>
              <a:t>burnout</a:t>
            </a:r>
            <a:r>
              <a:rPr lang="es-CL" sz="1300" dirty="0"/>
              <a:t> (sentimientos de frustración, de culpa, presión, tensión, tristeza, preocupación)</a:t>
            </a:r>
          </a:p>
          <a:p>
            <a:pPr lvl="1" eaLnBrk="1" hangingPunct="1">
              <a:spcBef>
                <a:spcPct val="0"/>
              </a:spcBef>
            </a:pPr>
            <a:r>
              <a:rPr lang="es-CL" sz="1300" dirty="0"/>
              <a:t>Conductuales: Ausentismo, bajo rendimiento, accidentes laborales, consumo de sustancias, cambio en costumbres alimenticias, perturbaciones del sueño, suicido </a:t>
            </a:r>
          </a:p>
          <a:p>
            <a:pPr eaLnBrk="1" hangingPunct="1">
              <a:spcBef>
                <a:spcPct val="0"/>
              </a:spcBef>
            </a:pPr>
            <a:r>
              <a:rPr lang="es-CL" sz="1600" dirty="0"/>
              <a:t>Percepción y Cognición (Proceso de Evaluación)</a:t>
            </a:r>
          </a:p>
          <a:p>
            <a:pPr lvl="1" eaLnBrk="1" hangingPunct="1">
              <a:spcBef>
                <a:spcPct val="0"/>
              </a:spcBef>
            </a:pPr>
            <a:r>
              <a:rPr lang="es-CL" sz="1800" dirty="0"/>
              <a:t>Características individuales moderadoras del estrés:</a:t>
            </a:r>
          </a:p>
          <a:p>
            <a:pPr lvl="2" eaLnBrk="1" hangingPunct="1">
              <a:spcBef>
                <a:spcPct val="0"/>
              </a:spcBef>
            </a:pPr>
            <a:r>
              <a:rPr lang="es-CL" sz="1300" dirty="0"/>
              <a:t>Tipo de Pd</a:t>
            </a:r>
          </a:p>
          <a:p>
            <a:pPr lvl="2" eaLnBrk="1" hangingPunct="1">
              <a:spcBef>
                <a:spcPct val="0"/>
              </a:spcBef>
            </a:pPr>
            <a:r>
              <a:rPr lang="es-CL" sz="1300" dirty="0"/>
              <a:t>Autoestima</a:t>
            </a:r>
          </a:p>
          <a:p>
            <a:pPr lvl="2" eaLnBrk="1" hangingPunct="1">
              <a:spcBef>
                <a:spcPct val="0"/>
              </a:spcBef>
            </a:pPr>
            <a:r>
              <a:rPr lang="es-CL" sz="1300" dirty="0"/>
              <a:t>Resistencia</a:t>
            </a:r>
          </a:p>
          <a:p>
            <a:pPr lvl="1" eaLnBrk="1" hangingPunct="1">
              <a:spcBef>
                <a:spcPct val="0"/>
              </a:spcBef>
            </a:pPr>
            <a:r>
              <a:rPr lang="es-CL" sz="1800" dirty="0"/>
              <a:t>Respuestas</a:t>
            </a:r>
          </a:p>
          <a:p>
            <a:pPr lvl="2" eaLnBrk="1" hangingPunct="1">
              <a:spcBef>
                <a:spcPct val="0"/>
              </a:spcBef>
            </a:pPr>
            <a:r>
              <a:rPr lang="es-CL" sz="1300" dirty="0"/>
              <a:t>Fisiológicas</a:t>
            </a:r>
          </a:p>
          <a:p>
            <a:pPr lvl="2" eaLnBrk="1" hangingPunct="1">
              <a:spcBef>
                <a:spcPct val="0"/>
              </a:spcBef>
            </a:pPr>
            <a:r>
              <a:rPr lang="es-CL" sz="1300" dirty="0"/>
              <a:t>Psicológicas</a:t>
            </a:r>
          </a:p>
          <a:p>
            <a:pPr lvl="2" eaLnBrk="1" hangingPunct="1">
              <a:spcBef>
                <a:spcPct val="0"/>
              </a:spcBef>
            </a:pPr>
            <a:r>
              <a:rPr lang="es-CL" sz="1300" dirty="0"/>
              <a:t>Conductuales</a:t>
            </a:r>
          </a:p>
          <a:p>
            <a:pPr lvl="1" eaLnBrk="1" hangingPunct="1">
              <a:spcBef>
                <a:spcPct val="0"/>
              </a:spcBef>
            </a:pPr>
            <a:r>
              <a:rPr lang="es-CL" sz="1800" dirty="0"/>
              <a:t>Características de la situación como moderadora del estrés</a:t>
            </a:r>
          </a:p>
          <a:p>
            <a:pPr lvl="2" eaLnBrk="1" hangingPunct="1">
              <a:spcBef>
                <a:spcPct val="0"/>
              </a:spcBef>
            </a:pPr>
            <a:r>
              <a:rPr lang="es-CL" sz="1300" dirty="0"/>
              <a:t>Apoyo Social</a:t>
            </a:r>
          </a:p>
          <a:p>
            <a:pPr lvl="1" eaLnBrk="1" hangingPunct="1">
              <a:spcBef>
                <a:spcPct val="0"/>
              </a:spcBef>
            </a:pPr>
            <a:r>
              <a:rPr lang="es-CL" sz="1800" dirty="0"/>
              <a:t>Riesgos Psicosociales</a:t>
            </a:r>
          </a:p>
          <a:p>
            <a:pPr lvl="2" eaLnBrk="1" hangingPunct="1">
              <a:spcBef>
                <a:spcPct val="0"/>
              </a:spcBef>
            </a:pPr>
            <a:r>
              <a:rPr lang="es-CL" sz="1300" dirty="0"/>
              <a:t>Conflicto de roles</a:t>
            </a:r>
          </a:p>
          <a:p>
            <a:pPr lvl="2" eaLnBrk="1" hangingPunct="1">
              <a:spcBef>
                <a:spcPct val="0"/>
              </a:spcBef>
            </a:pPr>
            <a:r>
              <a:rPr lang="es-CL" sz="1300" dirty="0"/>
              <a:t>Sobrecarga de roles</a:t>
            </a:r>
          </a:p>
          <a:p>
            <a:pPr lvl="2" eaLnBrk="1" hangingPunct="1">
              <a:spcBef>
                <a:spcPct val="0"/>
              </a:spcBef>
            </a:pPr>
            <a:r>
              <a:rPr lang="es-CL" sz="1300" dirty="0"/>
              <a:t>Etc.</a:t>
            </a:r>
          </a:p>
          <a:p>
            <a:pPr eaLnBrk="1" hangingPunct="1">
              <a:spcBef>
                <a:spcPct val="0"/>
              </a:spcBef>
            </a:pPr>
            <a:endParaRPr lang="es-CL" b="1" dirty="0"/>
          </a:p>
          <a:p>
            <a:pPr eaLnBrk="1" hangingPunct="1">
              <a:spcBef>
                <a:spcPct val="0"/>
              </a:spcBef>
            </a:pPr>
            <a:r>
              <a:rPr lang="es-CL" b="1" dirty="0"/>
              <a:t>Exigencias psicológicas 	</a:t>
            </a:r>
          </a:p>
          <a:p>
            <a:pPr eaLnBrk="1" hangingPunct="1">
              <a:spcBef>
                <a:spcPct val="0"/>
              </a:spcBef>
            </a:pPr>
            <a:endParaRPr lang="es-CL" b="1" dirty="0"/>
          </a:p>
          <a:p>
            <a:pPr eaLnBrk="1" hangingPunct="1">
              <a:spcBef>
                <a:spcPct val="0"/>
              </a:spcBef>
            </a:pPr>
            <a:r>
              <a:rPr lang="es-CL" dirty="0"/>
              <a:t>Exigencias cuantitativas  </a:t>
            </a:r>
            <a:r>
              <a:rPr lang="es-CL" b="1" dirty="0"/>
              <a:t>	</a:t>
            </a:r>
          </a:p>
          <a:p>
            <a:pPr eaLnBrk="1" hangingPunct="1">
              <a:spcBef>
                <a:spcPct val="0"/>
              </a:spcBef>
            </a:pPr>
            <a:r>
              <a:rPr lang="es-CL" dirty="0"/>
              <a:t>Exigencias cognitivas 	 	</a:t>
            </a:r>
          </a:p>
          <a:p>
            <a:pPr eaLnBrk="1" hangingPunct="1">
              <a:spcBef>
                <a:spcPct val="0"/>
              </a:spcBef>
            </a:pPr>
            <a:r>
              <a:rPr lang="es-CL" dirty="0"/>
              <a:t>Exigencias sensoriales 	 	</a:t>
            </a:r>
          </a:p>
          <a:p>
            <a:pPr eaLnBrk="1" hangingPunct="1">
              <a:spcBef>
                <a:spcPct val="0"/>
              </a:spcBef>
            </a:pPr>
            <a:r>
              <a:rPr lang="es-CL" dirty="0"/>
              <a:t>Exigencias emocionales 	 	</a:t>
            </a:r>
          </a:p>
          <a:p>
            <a:pPr eaLnBrk="1" hangingPunct="1">
              <a:spcBef>
                <a:spcPct val="0"/>
              </a:spcBef>
            </a:pPr>
            <a:r>
              <a:rPr lang="es-CL" dirty="0"/>
              <a:t>Exigencias de esconder emociones 	</a:t>
            </a:r>
          </a:p>
          <a:p>
            <a:pPr eaLnBrk="1" hangingPunct="1">
              <a:spcBef>
                <a:spcPct val="0"/>
              </a:spcBef>
            </a:pPr>
            <a:r>
              <a:rPr lang="es-CL" dirty="0"/>
              <a:t> 	</a:t>
            </a:r>
          </a:p>
          <a:p>
            <a:pPr eaLnBrk="1" hangingPunct="1">
              <a:spcBef>
                <a:spcPct val="0"/>
              </a:spcBef>
            </a:pPr>
            <a:r>
              <a:rPr lang="es-CL" b="1" dirty="0"/>
              <a:t>Trabajo activo y posibilidades de desarrollo 	</a:t>
            </a:r>
          </a:p>
          <a:p>
            <a:pPr eaLnBrk="1" hangingPunct="1">
              <a:spcBef>
                <a:spcPct val="0"/>
              </a:spcBef>
            </a:pPr>
            <a:r>
              <a:rPr lang="es-CL" dirty="0"/>
              <a:t>Influencia 	 </a:t>
            </a:r>
            <a:r>
              <a:rPr lang="es-CL" b="1" dirty="0"/>
              <a:t>	</a:t>
            </a:r>
          </a:p>
          <a:p>
            <a:pPr eaLnBrk="1" hangingPunct="1">
              <a:spcBef>
                <a:spcPct val="0"/>
              </a:spcBef>
            </a:pPr>
            <a:r>
              <a:rPr lang="es-CL" dirty="0"/>
              <a:t>Control sobre el tiempo de trabajo 	 	</a:t>
            </a:r>
          </a:p>
          <a:p>
            <a:pPr eaLnBrk="1" hangingPunct="1">
              <a:spcBef>
                <a:spcPct val="0"/>
              </a:spcBef>
            </a:pPr>
            <a:r>
              <a:rPr lang="es-CL" dirty="0"/>
              <a:t>Posibilidades de desarrollo en el trabajo 	</a:t>
            </a:r>
          </a:p>
          <a:p>
            <a:pPr eaLnBrk="1" hangingPunct="1">
              <a:spcBef>
                <a:spcPct val="0"/>
              </a:spcBef>
            </a:pPr>
            <a:r>
              <a:rPr lang="es-CL" dirty="0"/>
              <a:t>Sentido del trabajo 	 	</a:t>
            </a:r>
          </a:p>
          <a:p>
            <a:pPr eaLnBrk="1" hangingPunct="1">
              <a:spcBef>
                <a:spcPct val="0"/>
              </a:spcBef>
            </a:pPr>
            <a:r>
              <a:rPr lang="es-CL" dirty="0"/>
              <a:t>Integración en la empresa 	 </a:t>
            </a:r>
          </a:p>
          <a:p>
            <a:pPr eaLnBrk="1" hangingPunct="1">
              <a:spcBef>
                <a:spcPct val="0"/>
              </a:spcBef>
            </a:pPr>
            <a:r>
              <a:rPr lang="es-CL" dirty="0"/>
              <a:t>	</a:t>
            </a:r>
          </a:p>
          <a:p>
            <a:pPr eaLnBrk="1" hangingPunct="1">
              <a:spcBef>
                <a:spcPct val="0"/>
              </a:spcBef>
            </a:pPr>
            <a:r>
              <a:rPr lang="es-CL" b="1" dirty="0"/>
              <a:t>Apoyo social en la empresa y calidad de liderazgo 	</a:t>
            </a:r>
          </a:p>
          <a:p>
            <a:pPr eaLnBrk="1" hangingPunct="1">
              <a:spcBef>
                <a:spcPct val="0"/>
              </a:spcBef>
            </a:pPr>
            <a:r>
              <a:rPr lang="es-CL" dirty="0"/>
              <a:t>Claridad de rol 	 	</a:t>
            </a:r>
          </a:p>
          <a:p>
            <a:pPr eaLnBrk="1" hangingPunct="1">
              <a:spcBef>
                <a:spcPct val="0"/>
              </a:spcBef>
            </a:pPr>
            <a:r>
              <a:rPr lang="es-CL" dirty="0"/>
              <a:t>Conflicto de rol 	 	</a:t>
            </a:r>
          </a:p>
          <a:p>
            <a:pPr eaLnBrk="1" hangingPunct="1">
              <a:spcBef>
                <a:spcPct val="0"/>
              </a:spcBef>
            </a:pPr>
            <a:r>
              <a:rPr lang="es-CL" dirty="0"/>
              <a:t>Calidad de liderazgo 	 	</a:t>
            </a:r>
          </a:p>
          <a:p>
            <a:pPr eaLnBrk="1" hangingPunct="1">
              <a:spcBef>
                <a:spcPct val="0"/>
              </a:spcBef>
            </a:pPr>
            <a:r>
              <a:rPr lang="es-CL" dirty="0"/>
              <a:t>Calidad de la relación con superiores 	 	</a:t>
            </a:r>
          </a:p>
          <a:p>
            <a:pPr eaLnBrk="1" hangingPunct="1">
              <a:spcBef>
                <a:spcPct val="0"/>
              </a:spcBef>
            </a:pPr>
            <a:r>
              <a:rPr lang="es-CL" dirty="0"/>
              <a:t>Calidad de la relación con compañeros de trabajo 	</a:t>
            </a:r>
          </a:p>
          <a:p>
            <a:pPr eaLnBrk="1" hangingPunct="1">
              <a:spcBef>
                <a:spcPct val="0"/>
              </a:spcBef>
            </a:pPr>
            <a:r>
              <a:rPr lang="es-CL" dirty="0"/>
              <a:t> 	</a:t>
            </a:r>
          </a:p>
          <a:p>
            <a:pPr eaLnBrk="1" hangingPunct="1">
              <a:spcBef>
                <a:spcPct val="0"/>
              </a:spcBef>
            </a:pPr>
            <a:r>
              <a:rPr lang="es-CL" b="1" dirty="0"/>
              <a:t>Compensaciones 	</a:t>
            </a:r>
          </a:p>
          <a:p>
            <a:pPr eaLnBrk="1" hangingPunct="1">
              <a:spcBef>
                <a:spcPct val="0"/>
              </a:spcBef>
            </a:pPr>
            <a:r>
              <a:rPr lang="es-CL" dirty="0"/>
              <a:t>Estima 	 </a:t>
            </a:r>
            <a:r>
              <a:rPr lang="es-CL" b="1" dirty="0"/>
              <a:t>	</a:t>
            </a:r>
          </a:p>
          <a:p>
            <a:pPr eaLnBrk="1" hangingPunct="1">
              <a:spcBef>
                <a:spcPct val="0"/>
              </a:spcBef>
            </a:pPr>
            <a:r>
              <a:rPr lang="es-CL" dirty="0"/>
              <a:t>Inseguridad respecto del contrato de trabajo 	 	</a:t>
            </a:r>
          </a:p>
          <a:p>
            <a:pPr eaLnBrk="1" hangingPunct="1">
              <a:spcBef>
                <a:spcPct val="0"/>
              </a:spcBef>
            </a:pPr>
            <a:r>
              <a:rPr lang="es-CL" dirty="0"/>
              <a:t>Inseguridad respecto de las características del trabajo 	</a:t>
            </a:r>
          </a:p>
          <a:p>
            <a:pPr eaLnBrk="1" hangingPunct="1">
              <a:spcBef>
                <a:spcPct val="0"/>
              </a:spcBef>
            </a:pPr>
            <a:r>
              <a:rPr lang="es-CL" dirty="0"/>
              <a:t> 	</a:t>
            </a:r>
          </a:p>
          <a:p>
            <a:pPr eaLnBrk="1" hangingPunct="1">
              <a:spcBef>
                <a:spcPct val="0"/>
              </a:spcBef>
            </a:pPr>
            <a:r>
              <a:rPr lang="es-CL" b="1" dirty="0"/>
              <a:t>Doble presencia 	</a:t>
            </a:r>
          </a:p>
          <a:p>
            <a:pPr eaLnBrk="1" hangingPunct="1">
              <a:spcBef>
                <a:spcPct val="0"/>
              </a:spcBef>
            </a:pPr>
            <a:r>
              <a:rPr lang="es-CL" dirty="0"/>
              <a:t>Carga de tareas domésticas 	</a:t>
            </a:r>
            <a:r>
              <a:rPr lang="es-CL" b="1" dirty="0"/>
              <a:t> 	</a:t>
            </a:r>
          </a:p>
          <a:p>
            <a:pPr eaLnBrk="1" hangingPunct="1">
              <a:spcBef>
                <a:spcPct val="0"/>
              </a:spcBef>
            </a:pPr>
            <a:r>
              <a:rPr lang="es-CL" dirty="0"/>
              <a:t>Preocupación por tareas domésticas 	</a:t>
            </a:r>
          </a:p>
          <a:p>
            <a:pPr eaLnBrk="1" hangingPunct="1">
              <a:spcBef>
                <a:spcPct val="0"/>
              </a:spcBef>
            </a:pPr>
            <a:endParaRPr lang="es-CL" dirty="0"/>
          </a:p>
        </p:txBody>
      </p:sp>
      <p:sp>
        <p:nvSpPr>
          <p:cNvPr id="93188" name="3 Marcador de fecha"/>
          <p:cNvSpPr>
            <a:spLocks noGrp="1"/>
          </p:cNvSpPr>
          <p:nvPr>
            <p:ph type="dt" sz="quarter" idx="1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52514C0-9875-4B3D-A468-91542253D3CC}" type="datetime2">
              <a:rPr lang="es-CL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martes, 25 de abril de 2023</a:t>
            </a:fld>
            <a:endParaRPr lang="es-CL"/>
          </a:p>
        </p:txBody>
      </p:sp>
      <p:sp>
        <p:nvSpPr>
          <p:cNvPr id="93189" name="4 Marcador de número de diapositiva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015481D-2278-4B66-ABDE-63BC8232FD2F}" type="slidenum">
              <a:rPr lang="es-CL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9269412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s-CL" dirty="0"/>
              <a:t>1. Los factores psicosociales han demostrado estar relacionadas con los resultados de seguridad y salud.</a:t>
            </a:r>
          </a:p>
          <a:p>
            <a:r>
              <a:rPr lang="es-CL" dirty="0"/>
              <a:t>2. Los factores psicosociales afectan la calidad y la productividad de las empresas.</a:t>
            </a:r>
          </a:p>
          <a:p>
            <a:r>
              <a:rPr lang="es-CL" dirty="0"/>
              <a:t>3. La evaluación de riesgos psicosociales debería formar parte de la obligación legal de la evaluación de los riesgos en el trabajo.</a:t>
            </a:r>
          </a:p>
          <a:p>
            <a:endParaRPr lang="en-US" dirty="0"/>
          </a:p>
        </p:txBody>
      </p:sp>
      <p:sp>
        <p:nvSpPr>
          <p:cNvPr id="4" name="3 Marcador de fecha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FE5BC8B2-D3A7-448C-AEA4-E378CBAEB321}" type="datetime2">
              <a:rPr lang="es-CL" smtClean="0"/>
              <a:pPr/>
              <a:t>martes, 25 de abril de 2023</a:t>
            </a:fld>
            <a:endParaRPr lang="es-CL" dirty="0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811207A-67F2-4496-9EE8-116DA1DDA05F}" type="slidenum">
              <a:rPr lang="es-CL" smtClean="0"/>
              <a:pPr/>
              <a:t>4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7302413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8371" name="2 Marcador de notas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algn="ctr" eaLnBrk="1" hangingPunct="1">
              <a:spcBef>
                <a:spcPct val="0"/>
              </a:spcBef>
            </a:pPr>
            <a:r>
              <a:rPr lang="es-CL" sz="1600" b="1" dirty="0"/>
              <a:t>Factores Psicosociales:</a:t>
            </a:r>
          </a:p>
          <a:p>
            <a:pPr algn="ctr" eaLnBrk="1" hangingPunct="1">
              <a:spcBef>
                <a:spcPct val="0"/>
              </a:spcBef>
            </a:pPr>
            <a:r>
              <a:rPr lang="es-CL" dirty="0"/>
              <a:t>Características percibidas de nuestro medioambiente laboral y organización del trabajo, que tiene una connotación emocional</a:t>
            </a:r>
          </a:p>
          <a:p>
            <a:pPr eaLnBrk="1" hangingPunct="1">
              <a:spcBef>
                <a:spcPct val="0"/>
              </a:spcBef>
            </a:pPr>
            <a:endParaRPr lang="es-CL" dirty="0"/>
          </a:p>
        </p:txBody>
      </p:sp>
      <p:sp>
        <p:nvSpPr>
          <p:cNvPr id="95236" name="3 Marcador de fecha"/>
          <p:cNvSpPr>
            <a:spLocks noGrp="1"/>
          </p:cNvSpPr>
          <p:nvPr>
            <p:ph type="dt" sz="quarter" idx="1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F153879-301C-4EEB-BDB3-D9A8F848FD69}" type="datetime2">
              <a:rPr lang="es-CL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martes, 25 de abril de 2023</a:t>
            </a:fld>
            <a:endParaRPr lang="es-CL"/>
          </a:p>
        </p:txBody>
      </p:sp>
      <p:sp>
        <p:nvSpPr>
          <p:cNvPr id="95237" name="4 Marcador de número de diapositiva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DED9DFF-402B-47B3-BC42-D0D5F30A9DE8}" type="slidenum">
              <a:rPr lang="es-CL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7522512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729020" y="1957329"/>
            <a:ext cx="8262224" cy="1350585"/>
          </a:xfrm>
        </p:spPr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458040" y="3570446"/>
            <a:ext cx="6804184" cy="1610201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/>
              <a:t>Haga clic para modificar el estilo de subtítulo del patrón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FA3D98-124E-2447-805A-0C7BE02A2842}" type="datetimeFigureOut">
              <a:rPr lang="es-ES" smtClean="0"/>
              <a:t>25/04/2023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A786BA-D79C-7546-8ACC-FE3A6C927E34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3365571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FA3D98-124E-2447-805A-0C7BE02A2842}" type="datetimeFigureOut">
              <a:rPr lang="es-ES" smtClean="0"/>
              <a:t>25/04/2023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A786BA-D79C-7546-8ACC-FE3A6C927E34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312325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7492704" y="239196"/>
            <a:ext cx="2323751" cy="5081469"/>
          </a:xfrm>
        </p:spPr>
        <p:txBody>
          <a:bodyPr vert="eaVert"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516391" y="239196"/>
            <a:ext cx="6814309" cy="5081469"/>
          </a:xfrm>
        </p:spPr>
        <p:txBody>
          <a:bodyPr vert="eaVert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FA3D98-124E-2447-805A-0C7BE02A2842}" type="datetimeFigureOut">
              <a:rPr lang="es-ES" smtClean="0"/>
              <a:t>25/04/2023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A786BA-D79C-7546-8ACC-FE3A6C927E34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851058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i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="" xmlns:a16="http://schemas.microsoft.com/office/drawing/2014/main" id="{D44E703A-2C5F-49E8-8859-17E23BEEDE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8415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2" name="Diapositiva de think-cell" r:id="rId5" imgW="415" imgH="416" progId="TCLayout.ActiveDocument.1">
                  <p:embed/>
                </p:oleObj>
              </mc:Choice>
              <mc:Fallback>
                <p:oleObj name="Diapositiva de think-cell" r:id="rId5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="" xmlns:a16="http://schemas.microsoft.com/office/drawing/2014/main" id="{E6CD8A6A-F1F2-43E8-9E56-F8E43AE16E9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20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1 Marcador de título"/>
          <p:cNvSpPr>
            <a:spLocks noGrp="1"/>
          </p:cNvSpPr>
          <p:nvPr>
            <p:ph type="title" hasCustomPrompt="1"/>
          </p:nvPr>
        </p:nvSpPr>
        <p:spPr bwMode="auto">
          <a:xfrm>
            <a:off x="420463" y="411168"/>
            <a:ext cx="849660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20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l"/>
            <a:r>
              <a:rPr lang="es-ES" altLang="es-CL" dirty="0"/>
              <a:t>Haga clic para modificar estilo de título del patrón</a:t>
            </a:r>
            <a:endParaRPr lang="es-CL" altLang="es-CL" dirty="0"/>
          </a:p>
        </p:txBody>
      </p:sp>
      <p:sp>
        <p:nvSpPr>
          <p:cNvPr id="9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9185019" y="6052248"/>
            <a:ext cx="344419" cy="141384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906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D9FA6486-1192-41E2-B325-83AE41CAEC79}" type="slidenum">
              <a:rPr lang="es-CL" smtClean="0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es-CL">
              <a:solidFill>
                <a:srgbClr val="000000"/>
              </a:solidFill>
            </a:endParaRPr>
          </a:p>
        </p:txBody>
      </p:sp>
      <p:sp>
        <p:nvSpPr>
          <p:cNvPr id="10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420464" y="6054236"/>
            <a:ext cx="8496607" cy="1393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es-CL" sz="906" dirty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511799" indent="-511799" defTabSz="836415">
              <a:tabLst>
                <a:tab pos="485889" algn="r"/>
              </a:tabLst>
            </a:pPr>
            <a:endParaRPr lang="es-ES">
              <a:solidFill>
                <a:srgbClr val="000000"/>
              </a:solidFill>
            </a:endParaRPr>
          </a:p>
        </p:txBody>
      </p:sp>
      <p:pic>
        <p:nvPicPr>
          <p:cNvPr id="11" name="Imagen 10" descr="logo achs 300x300.png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93616" y="107156"/>
            <a:ext cx="570487" cy="493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82767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FA3D98-124E-2447-805A-0C7BE02A2842}" type="datetimeFigureOut">
              <a:rPr lang="es-ES" smtClean="0"/>
              <a:t>25/04/2023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A786BA-D79C-7546-8ACC-FE3A6C927E34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333468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67834" y="4048841"/>
            <a:ext cx="8262224" cy="125140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767834" y="2670543"/>
            <a:ext cx="8262224" cy="137829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FA3D98-124E-2447-805A-0C7BE02A2842}" type="datetimeFigureOut">
              <a:rPr lang="es-ES" smtClean="0"/>
              <a:t>25/04/2023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A786BA-D79C-7546-8ACC-FE3A6C927E34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555327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516390" y="1389967"/>
            <a:ext cx="4568187" cy="393069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5246580" y="1389967"/>
            <a:ext cx="4569874" cy="393069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FA3D98-124E-2447-805A-0C7BE02A2842}" type="datetimeFigureOut">
              <a:rPr lang="es-ES" smtClean="0"/>
              <a:t>25/04/2023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A786BA-D79C-7546-8ACC-FE3A6C927E34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448258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86014" y="252324"/>
            <a:ext cx="8748237" cy="1050131"/>
          </a:xfrm>
        </p:spPr>
        <p:txBody>
          <a:bodyPr/>
          <a:lstStyle>
            <a:lvl1pPr>
              <a:defRPr/>
            </a:lvl1pPr>
          </a:lstStyle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486013" y="1410385"/>
            <a:ext cx="4294804" cy="587781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486013" y="1998166"/>
            <a:ext cx="4294804" cy="363024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937760" y="1410385"/>
            <a:ext cx="4296491" cy="587781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937760" y="1998166"/>
            <a:ext cx="4296491" cy="363024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FA3D98-124E-2447-805A-0C7BE02A2842}" type="datetimeFigureOut">
              <a:rPr lang="es-ES" smtClean="0"/>
              <a:t>25/04/2023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A786BA-D79C-7546-8ACC-FE3A6C927E34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9318616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FA3D98-124E-2447-805A-0C7BE02A2842}" type="datetimeFigureOut">
              <a:rPr lang="es-ES" smtClean="0"/>
              <a:t>25/04/2023</a:t>
            </a:fld>
            <a:endParaRPr lang="es-ES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A786BA-D79C-7546-8ACC-FE3A6C927E34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9009362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FA3D98-124E-2447-805A-0C7BE02A2842}" type="datetimeFigureOut">
              <a:rPr lang="es-ES" smtClean="0"/>
              <a:t>25/04/2023</a:t>
            </a:fld>
            <a:endParaRPr lang="es-ES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A786BA-D79C-7546-8ACC-FE3A6C927E34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1167506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86013" y="250864"/>
            <a:ext cx="3197900" cy="106763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3800354" y="250866"/>
            <a:ext cx="5433897" cy="537754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486013" y="1318498"/>
            <a:ext cx="3197900" cy="4309915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FA3D98-124E-2447-805A-0C7BE02A2842}" type="datetimeFigureOut">
              <a:rPr lang="es-ES" smtClean="0"/>
              <a:t>25/04/2023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A786BA-D79C-7546-8ACC-FE3A6C927E34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306765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905239" y="4410552"/>
            <a:ext cx="5832158" cy="52069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1905239" y="562987"/>
            <a:ext cx="5832158" cy="378047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1905239" y="4931243"/>
            <a:ext cx="5832158" cy="73946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FA3D98-124E-2447-805A-0C7BE02A2842}" type="datetimeFigureOut">
              <a:rPr lang="es-ES" smtClean="0"/>
              <a:t>25/04/2023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A786BA-D79C-7546-8ACC-FE3A6C927E34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2365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="" xmlns:a16="http://schemas.microsoft.com/office/drawing/2014/main" id="{1776149B-316A-4A43-B380-91BF162604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971778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8" name="Diapositiva de think-cell" r:id="rId17" imgW="415" imgH="416" progId="TCLayout.ActiveDocument.1">
                  <p:embed/>
                </p:oleObj>
              </mc:Choice>
              <mc:Fallback>
                <p:oleObj name="Diapositiva de think-cell" r:id="rId17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>
            <a:extLst>
              <a:ext uri="{FF2B5EF4-FFF2-40B4-BE49-F238E27FC236}">
                <a16:creationId xmlns="" xmlns:a16="http://schemas.microsoft.com/office/drawing/2014/main" id="{839354C9-2C13-4F2A-8E7D-9F95DBD23B0D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_tradnl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486014" y="252324"/>
            <a:ext cx="8748237" cy="105013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486014" y="1470184"/>
            <a:ext cx="8748237" cy="41582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486014" y="5839898"/>
            <a:ext cx="2268061" cy="33545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FA3D98-124E-2447-805A-0C7BE02A2842}" type="datetimeFigureOut">
              <a:rPr lang="es-ES" smtClean="0"/>
              <a:t>25/04/2023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3321091" y="5839898"/>
            <a:ext cx="3078083" cy="33545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6966190" y="5839898"/>
            <a:ext cx="2268061" cy="33545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A786BA-D79C-7546-8ACC-FE3A6C927E34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8429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7.xml"/><Relationship Id="rId7" Type="http://schemas.openxmlformats.org/officeDocument/2006/relationships/image" Target="../media/image3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eg"/><Relationship Id="rId3" Type="http://schemas.openxmlformats.org/officeDocument/2006/relationships/image" Target="../media/image3.emf"/><Relationship Id="rId7" Type="http://schemas.openxmlformats.org/officeDocument/2006/relationships/image" Target="../media/image28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7.jp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Relationship Id="rId9" Type="http://schemas.openxmlformats.org/officeDocument/2006/relationships/image" Target="../media/image3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41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0.png"/><Relationship Id="rId5" Type="http://schemas.openxmlformats.org/officeDocument/2006/relationships/image" Target="../media/image39.emf"/><Relationship Id="rId4" Type="http://schemas.openxmlformats.org/officeDocument/2006/relationships/image" Target="../media/image38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7" Type="http://schemas.openxmlformats.org/officeDocument/2006/relationships/image" Target="../media/image46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G"/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G"/><Relationship Id="rId13" Type="http://schemas.microsoft.com/office/2007/relationships/diagramDrawing" Target="../diagrams/drawing1.xml"/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12" Type="http://schemas.openxmlformats.org/officeDocument/2006/relationships/diagramColors" Target="../diagrams/colors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11" Type="http://schemas.openxmlformats.org/officeDocument/2006/relationships/diagramQuickStyle" Target="../diagrams/quickStyle1.xml"/><Relationship Id="rId5" Type="http://schemas.openxmlformats.org/officeDocument/2006/relationships/notesSlide" Target="../notesSlides/notesSlide2.xml"/><Relationship Id="rId10" Type="http://schemas.openxmlformats.org/officeDocument/2006/relationships/diagramLayout" Target="../diagrams/layout1.xml"/><Relationship Id="rId4" Type="http://schemas.openxmlformats.org/officeDocument/2006/relationships/slideLayout" Target="../slideLayouts/slideLayout12.xml"/><Relationship Id="rId9" Type="http://schemas.openxmlformats.org/officeDocument/2006/relationships/diagramData" Target="../diagrams/data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diagramData" Target="../diagrams/data3.xml"/><Relationship Id="rId18" Type="http://schemas.openxmlformats.org/officeDocument/2006/relationships/diagramData" Target="../diagrams/data4.xml"/><Relationship Id="rId3" Type="http://schemas.openxmlformats.org/officeDocument/2006/relationships/tags" Target="../tags/tag13.xml"/><Relationship Id="rId21" Type="http://schemas.openxmlformats.org/officeDocument/2006/relationships/diagramColors" Target="../diagrams/colors4.xml"/><Relationship Id="rId7" Type="http://schemas.openxmlformats.org/officeDocument/2006/relationships/image" Target="../media/image9.jpeg"/><Relationship Id="rId12" Type="http://schemas.microsoft.com/office/2007/relationships/diagramDrawing" Target="../diagrams/drawing2.xml"/><Relationship Id="rId17" Type="http://schemas.microsoft.com/office/2007/relationships/diagramDrawing" Target="../diagrams/drawing3.xml"/><Relationship Id="rId2" Type="http://schemas.openxmlformats.org/officeDocument/2006/relationships/tags" Target="../tags/tag12.xml"/><Relationship Id="rId16" Type="http://schemas.openxmlformats.org/officeDocument/2006/relationships/diagramColors" Target="../diagrams/colors3.xml"/><Relationship Id="rId20" Type="http://schemas.openxmlformats.org/officeDocument/2006/relationships/diagramQuickStyle" Target="../diagrams/quickStyle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11" Type="http://schemas.openxmlformats.org/officeDocument/2006/relationships/diagramColors" Target="../diagrams/colors2.xml"/><Relationship Id="rId5" Type="http://schemas.openxmlformats.org/officeDocument/2006/relationships/oleObject" Target="../embeddings/oleObject6.bin"/><Relationship Id="rId15" Type="http://schemas.openxmlformats.org/officeDocument/2006/relationships/diagramQuickStyle" Target="../diagrams/quickStyle3.xml"/><Relationship Id="rId23" Type="http://schemas.openxmlformats.org/officeDocument/2006/relationships/image" Target="../media/image3.emf"/><Relationship Id="rId10" Type="http://schemas.openxmlformats.org/officeDocument/2006/relationships/diagramQuickStyle" Target="../diagrams/quickStyle2.xml"/><Relationship Id="rId19" Type="http://schemas.openxmlformats.org/officeDocument/2006/relationships/diagramLayout" Target="../diagrams/layout4.xml"/><Relationship Id="rId4" Type="http://schemas.openxmlformats.org/officeDocument/2006/relationships/slideLayout" Target="../slideLayouts/slideLayout6.xml"/><Relationship Id="rId9" Type="http://schemas.openxmlformats.org/officeDocument/2006/relationships/diagramLayout" Target="../diagrams/layout2.xml"/><Relationship Id="rId14" Type="http://schemas.openxmlformats.org/officeDocument/2006/relationships/diagramLayout" Target="../diagrams/layout3.xml"/><Relationship Id="rId22" Type="http://schemas.microsoft.com/office/2007/relationships/diagramDrawing" Target="../diagrams/drawing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10.pn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0542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="" xmlns:a16="http://schemas.microsoft.com/office/drawing/2014/main" id="{A7EB779B-D14B-459B-B5B0-B3BED086EA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3643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5" name="Diapositiva de think-cell" r:id="rId5" imgW="415" imgH="416" progId="TCLayout.ActiveDocument.1">
                  <p:embed/>
                </p:oleObj>
              </mc:Choice>
              <mc:Fallback>
                <p:oleObj name="Diapositiva de think-cell" r:id="rId5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ángulo 5" hidden="1">
            <a:extLst>
              <a:ext uri="{FF2B5EF4-FFF2-40B4-BE49-F238E27FC236}">
                <a16:creationId xmlns="" xmlns:a16="http://schemas.microsoft.com/office/drawing/2014/main" id="{C48B2AD4-79D8-4033-A504-3A2462D647B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CL" sz="40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782679" y="3255201"/>
            <a:ext cx="8795430" cy="1487423"/>
          </a:xfrm>
        </p:spPr>
        <p:txBody>
          <a:bodyPr>
            <a:noAutofit/>
          </a:bodyPr>
          <a:lstStyle/>
          <a:p>
            <a:pPr algn="l">
              <a:lnSpc>
                <a:spcPts val="4800"/>
              </a:lnSpc>
            </a:pPr>
            <a:r>
              <a:rPr lang="es-CL" sz="4000" b="1" spc="-15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sibilización</a:t>
            </a:r>
            <a:r>
              <a:rPr lang="es-CL" sz="4000" b="1" spc="-1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s-CL" sz="4000" b="1" spc="-1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s-CL" sz="4000" b="1" spc="-1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tocolo de Riesgos Psicosociales</a:t>
            </a:r>
            <a:endParaRPr lang="es-ES" sz="4000" b="1" spc="-15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782679" y="4757812"/>
            <a:ext cx="7965113" cy="1184092"/>
          </a:xfrm>
        </p:spPr>
        <p:txBody>
          <a:bodyPr>
            <a:noAutofit/>
          </a:bodyPr>
          <a:lstStyle/>
          <a:p>
            <a:pPr algn="l"/>
            <a:r>
              <a:rPr lang="es-ES_tradnl" sz="1200" dirty="0">
                <a:solidFill>
                  <a:schemeClr val="accent5">
                    <a:lumMod val="60000"/>
                    <a:lumOff val="40000"/>
                  </a:schemeClr>
                </a:solidFill>
                <a:latin typeface="Arial"/>
                <a:cs typeface="Arial"/>
              </a:rPr>
              <a:t>| </a:t>
            </a:r>
            <a:r>
              <a:rPr lang="es-CL" sz="1200" dirty="0" smtClean="0">
                <a:solidFill>
                  <a:schemeClr val="accent5">
                    <a:lumMod val="60000"/>
                    <a:lumOff val="40000"/>
                  </a:schemeClr>
                </a:solidFill>
                <a:latin typeface="Arial"/>
                <a:cs typeface="Arial"/>
              </a:rPr>
              <a:t>2023</a:t>
            </a:r>
            <a:endParaRPr lang="es-CL" sz="1200" dirty="0">
              <a:solidFill>
                <a:schemeClr val="accent5">
                  <a:lumMod val="60000"/>
                  <a:lumOff val="40000"/>
                </a:schemeClr>
              </a:solidFill>
              <a:latin typeface="Arial"/>
              <a:cs typeface="Arial"/>
            </a:endParaRPr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14007" y="452275"/>
            <a:ext cx="635000" cy="635000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32115" y="1136129"/>
            <a:ext cx="4206496" cy="663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35960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 rotWithShape="1">
          <a:blip r:embed="rId2"/>
          <a:srcRect l="11599" t="18847" r="15518" b="7439"/>
          <a:stretch/>
        </p:blipFill>
        <p:spPr>
          <a:xfrm>
            <a:off x="559292" y="1109709"/>
            <a:ext cx="8519983" cy="4847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32916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 rotWithShape="1">
          <a:blip r:embed="rId2"/>
          <a:srcRect l="10320" t="18360" r="14696" b="6952"/>
          <a:stretch/>
        </p:blipFill>
        <p:spPr>
          <a:xfrm>
            <a:off x="150920" y="718945"/>
            <a:ext cx="9241654" cy="5178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56144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 rotWithShape="1">
          <a:blip r:embed="rId2"/>
          <a:srcRect l="12329" t="18035" r="15153" b="7600"/>
          <a:stretch/>
        </p:blipFill>
        <p:spPr>
          <a:xfrm>
            <a:off x="230818" y="718945"/>
            <a:ext cx="9197267" cy="5305224"/>
          </a:xfrm>
          <a:prstGeom prst="rect">
            <a:avLst/>
          </a:prstGeom>
        </p:spPr>
      </p:pic>
      <p:sp>
        <p:nvSpPr>
          <p:cNvPr id="4" name="CuadroTexto 3"/>
          <p:cNvSpPr txBox="1"/>
          <p:nvPr/>
        </p:nvSpPr>
        <p:spPr>
          <a:xfrm>
            <a:off x="230818" y="2217395"/>
            <a:ext cx="816745" cy="230832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s-ES" dirty="0" smtClean="0"/>
              <a:t>Verde -2</a:t>
            </a:r>
          </a:p>
          <a:p>
            <a:r>
              <a:rPr lang="es-ES" dirty="0" smtClean="0"/>
              <a:t>Naranjo 1</a:t>
            </a:r>
          </a:p>
          <a:p>
            <a:r>
              <a:rPr lang="es-ES" dirty="0" smtClean="0"/>
              <a:t>Rojo 2</a:t>
            </a:r>
          </a:p>
          <a:p>
            <a:endParaRPr lang="es-ES" dirty="0"/>
          </a:p>
          <a:p>
            <a:r>
              <a:rPr lang="es-ES" dirty="0" smtClean="0"/>
              <a:t>50% o más </a:t>
            </a:r>
          </a:p>
        </p:txBody>
      </p:sp>
    </p:spTree>
    <p:extLst>
      <p:ext uri="{BB962C8B-B14F-4D97-AF65-F5344CB8AC3E}">
        <p14:creationId xmlns:p14="http://schemas.microsoft.com/office/powerpoint/2010/main" val="365779632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 rotWithShape="1">
          <a:blip r:embed="rId2"/>
          <a:srcRect t="14138" r="1270"/>
          <a:stretch/>
        </p:blipFill>
        <p:spPr>
          <a:xfrm>
            <a:off x="123500" y="1189608"/>
            <a:ext cx="9596763" cy="4694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341064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smtClean="0"/>
              <a:t>Formulario habilitación CEAL-SM SUSESO</a:t>
            </a:r>
            <a:endParaRPr lang="es-CL" dirty="0"/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 rotWithShape="1">
          <a:blip r:embed="rId2"/>
          <a:srcRect l="19088" t="26154" r="6202" b="8736"/>
          <a:stretch/>
        </p:blipFill>
        <p:spPr>
          <a:xfrm>
            <a:off x="568172" y="1483926"/>
            <a:ext cx="8762260" cy="42954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434223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número de diapositiva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D9FA6486-1192-41E2-B325-83AE41CAEC79}" type="slidenum">
              <a:rPr lang="es-CL" smtClean="0"/>
              <a:pPr>
                <a:defRPr/>
              </a:pPr>
              <a:t>15</a:t>
            </a:fld>
            <a:endParaRPr lang="es-CL"/>
          </a:p>
        </p:txBody>
      </p:sp>
      <p:sp>
        <p:nvSpPr>
          <p:cNvPr id="3" name="2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 smtClean="0"/>
              <a:t>Resumen, </a:t>
            </a:r>
            <a:r>
              <a:rPr lang="es-CL" dirty="0"/>
              <a:t>M</a:t>
            </a:r>
            <a:r>
              <a:rPr lang="es-CL" dirty="0" smtClean="0"/>
              <a:t>anual del Método CEAL-SM SUSESO</a:t>
            </a:r>
            <a:endParaRPr lang="es-CL" dirty="0"/>
          </a:p>
        </p:txBody>
      </p:sp>
      <p:graphicFrame>
        <p:nvGraphicFramePr>
          <p:cNvPr id="4" name="3 Diagrama"/>
          <p:cNvGraphicFramePr/>
          <p:nvPr>
            <p:extLst>
              <p:ext uri="{D42A27DB-BD31-4B8C-83A1-F6EECF244321}">
                <p14:modId xmlns:p14="http://schemas.microsoft.com/office/powerpoint/2010/main" val="3057746413"/>
              </p:ext>
            </p:extLst>
          </p:nvPr>
        </p:nvGraphicFramePr>
        <p:xfrm>
          <a:off x="1221477" y="768730"/>
          <a:ext cx="7343466" cy="535874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945623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 rotWithShape="1">
          <a:blip r:embed="rId2"/>
          <a:srcRect l="10046" t="19496" r="15427" b="5327"/>
          <a:stretch/>
        </p:blipFill>
        <p:spPr>
          <a:xfrm>
            <a:off x="120722" y="62144"/>
            <a:ext cx="9511550" cy="5717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748745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3 Título"/>
          <p:cNvSpPr txBox="1">
            <a:spLocks/>
          </p:cNvSpPr>
          <p:nvPr/>
        </p:nvSpPr>
        <p:spPr>
          <a:xfrm>
            <a:off x="461118" y="264066"/>
            <a:ext cx="8248615" cy="225895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CL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ualización Protocolo de Riesgos Psicosociales</a:t>
            </a:r>
            <a:endParaRPr lang="es-CL" sz="800" kern="800" spc="50" dirty="0">
              <a:solidFill>
                <a:schemeClr val="tx1">
                  <a:lumMod val="50000"/>
                  <a:lumOff val="50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6" name="3 Título"/>
          <p:cNvSpPr txBox="1">
            <a:spLocks/>
          </p:cNvSpPr>
          <p:nvPr/>
        </p:nvSpPr>
        <p:spPr>
          <a:xfrm>
            <a:off x="452418" y="452051"/>
            <a:ext cx="6724905" cy="377747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CL" sz="2000" dirty="0">
                <a:solidFill>
                  <a:srgbClr val="215968"/>
                </a:solidFill>
                <a:latin typeface="Arial"/>
                <a:cs typeface="Arial"/>
              </a:rPr>
              <a:t>Apoyo Asociación Chilena de Seguridad</a:t>
            </a: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14007" y="452275"/>
            <a:ext cx="635000" cy="635000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="" xmlns:a16="http://schemas.microsoft.com/office/drawing/2014/main" id="{D7C2676C-2AB0-4109-B718-B90C22ED09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76218" y="1968626"/>
            <a:ext cx="6437745" cy="3022912"/>
          </a:xfrm>
          <a:prstGeom prst="rect">
            <a:avLst/>
          </a:prstGeom>
        </p:spPr>
      </p:pic>
      <p:sp>
        <p:nvSpPr>
          <p:cNvPr id="12" name="3 Título">
            <a:extLst>
              <a:ext uri="{FF2B5EF4-FFF2-40B4-BE49-F238E27FC236}">
                <a16:creationId xmlns="" xmlns:a16="http://schemas.microsoft.com/office/drawing/2014/main" id="{2BBC4AC2-B5DE-41BA-98C8-6FABFFD2955F}"/>
              </a:ext>
            </a:extLst>
          </p:cNvPr>
          <p:cNvSpPr txBox="1">
            <a:spLocks/>
          </p:cNvSpPr>
          <p:nvPr/>
        </p:nvSpPr>
        <p:spPr>
          <a:xfrm>
            <a:off x="452417" y="1439915"/>
            <a:ext cx="6724905" cy="377747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CL" sz="2000" dirty="0">
                <a:solidFill>
                  <a:srgbClr val="215968"/>
                </a:solidFill>
                <a:latin typeface="Arial"/>
                <a:cs typeface="Arial"/>
              </a:rPr>
              <a:t>E-learning Protocolo de Riesgos Psicosociales</a:t>
            </a:r>
          </a:p>
        </p:txBody>
      </p:sp>
    </p:spTree>
    <p:extLst>
      <p:ext uri="{BB962C8B-B14F-4D97-AF65-F5344CB8AC3E}">
        <p14:creationId xmlns:p14="http://schemas.microsoft.com/office/powerpoint/2010/main" val="77520517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3 Título"/>
          <p:cNvSpPr txBox="1">
            <a:spLocks/>
          </p:cNvSpPr>
          <p:nvPr/>
        </p:nvSpPr>
        <p:spPr>
          <a:xfrm>
            <a:off x="461118" y="264066"/>
            <a:ext cx="8248615" cy="225895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CL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ualización Protocolo de Riesgos Psicosociales</a:t>
            </a:r>
            <a:endParaRPr lang="es-CL" sz="800" kern="800" spc="50" dirty="0">
              <a:solidFill>
                <a:schemeClr val="tx1">
                  <a:lumMod val="50000"/>
                  <a:lumOff val="50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6" name="3 Título"/>
          <p:cNvSpPr txBox="1">
            <a:spLocks/>
          </p:cNvSpPr>
          <p:nvPr/>
        </p:nvSpPr>
        <p:spPr>
          <a:xfrm>
            <a:off x="452418" y="452051"/>
            <a:ext cx="6724905" cy="377747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CL" sz="2000" dirty="0">
                <a:solidFill>
                  <a:srgbClr val="215968"/>
                </a:solidFill>
                <a:latin typeface="Arial"/>
                <a:cs typeface="Arial"/>
              </a:rPr>
              <a:t>Apoyo Asociación Chilena de Seguridad</a:t>
            </a: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14007" y="452275"/>
            <a:ext cx="635000" cy="635000"/>
          </a:xfrm>
          <a:prstGeom prst="rect">
            <a:avLst/>
          </a:prstGeom>
        </p:spPr>
      </p:pic>
      <p:sp>
        <p:nvSpPr>
          <p:cNvPr id="12" name="3 Título">
            <a:extLst>
              <a:ext uri="{FF2B5EF4-FFF2-40B4-BE49-F238E27FC236}">
                <a16:creationId xmlns="" xmlns:a16="http://schemas.microsoft.com/office/drawing/2014/main" id="{2BBC4AC2-B5DE-41BA-98C8-6FABFFD2955F}"/>
              </a:ext>
            </a:extLst>
          </p:cNvPr>
          <p:cNvSpPr txBox="1">
            <a:spLocks/>
          </p:cNvSpPr>
          <p:nvPr/>
        </p:nvSpPr>
        <p:spPr>
          <a:xfrm>
            <a:off x="452417" y="1439915"/>
            <a:ext cx="6724905" cy="377747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CL" sz="2000" dirty="0">
                <a:solidFill>
                  <a:srgbClr val="215968"/>
                </a:solidFill>
                <a:latin typeface="Arial"/>
                <a:cs typeface="Arial"/>
              </a:rPr>
              <a:t>E-learning Curso Comité de Aplicación</a:t>
            </a:r>
          </a:p>
        </p:txBody>
      </p:sp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F7B89B37-C104-4FDB-AFF9-F6CF7DBC53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52531" y="2010948"/>
            <a:ext cx="6461432" cy="3739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991029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3 Título"/>
          <p:cNvSpPr txBox="1">
            <a:spLocks/>
          </p:cNvSpPr>
          <p:nvPr/>
        </p:nvSpPr>
        <p:spPr>
          <a:xfrm>
            <a:off x="461118" y="264066"/>
            <a:ext cx="8248615" cy="225895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CL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ualización Protocolo de Riesgos Psicosociales</a:t>
            </a:r>
            <a:endParaRPr lang="es-CL" sz="800" kern="800" spc="50" dirty="0">
              <a:solidFill>
                <a:schemeClr val="tx1">
                  <a:lumMod val="50000"/>
                  <a:lumOff val="50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6" name="3 Título"/>
          <p:cNvSpPr txBox="1">
            <a:spLocks/>
          </p:cNvSpPr>
          <p:nvPr/>
        </p:nvSpPr>
        <p:spPr>
          <a:xfrm>
            <a:off x="452418" y="452051"/>
            <a:ext cx="6724905" cy="377747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CL" sz="2000" dirty="0">
                <a:solidFill>
                  <a:srgbClr val="215968"/>
                </a:solidFill>
                <a:latin typeface="Arial"/>
                <a:cs typeface="Arial"/>
              </a:rPr>
              <a:t>Apoyo Asociación Chilena de Seguridad</a:t>
            </a: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14007" y="452275"/>
            <a:ext cx="635000" cy="635000"/>
          </a:xfrm>
          <a:prstGeom prst="rect">
            <a:avLst/>
          </a:prstGeom>
        </p:spPr>
      </p:pic>
      <p:sp>
        <p:nvSpPr>
          <p:cNvPr id="12" name="3 Título">
            <a:extLst>
              <a:ext uri="{FF2B5EF4-FFF2-40B4-BE49-F238E27FC236}">
                <a16:creationId xmlns="" xmlns:a16="http://schemas.microsoft.com/office/drawing/2014/main" id="{2BBC4AC2-B5DE-41BA-98C8-6FABFFD2955F}"/>
              </a:ext>
            </a:extLst>
          </p:cNvPr>
          <p:cNvSpPr txBox="1">
            <a:spLocks/>
          </p:cNvSpPr>
          <p:nvPr/>
        </p:nvSpPr>
        <p:spPr>
          <a:xfrm>
            <a:off x="452417" y="1439915"/>
            <a:ext cx="8061590" cy="377747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CL" sz="2000" dirty="0">
                <a:solidFill>
                  <a:srgbClr val="215968"/>
                </a:solidFill>
                <a:latin typeface="Arial"/>
                <a:cs typeface="Arial"/>
              </a:rPr>
              <a:t>E-learning Curso recomendaciones psicológicas en teletrabajo</a:t>
            </a:r>
          </a:p>
        </p:txBody>
      </p:sp>
      <p:pic>
        <p:nvPicPr>
          <p:cNvPr id="8" name="Imagen 7">
            <a:extLst>
              <a:ext uri="{FF2B5EF4-FFF2-40B4-BE49-F238E27FC236}">
                <a16:creationId xmlns="" xmlns:a16="http://schemas.microsoft.com/office/drawing/2014/main" id="{EAFB3995-60E3-4D87-8C8A-E6FB1A7FAC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52530" y="2010948"/>
            <a:ext cx="6484697" cy="3207597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5840395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ASCENSOR.jp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114"/>
          <a:stretch/>
        </p:blipFill>
        <p:spPr>
          <a:xfrm>
            <a:off x="0" y="0"/>
            <a:ext cx="9737147" cy="6300788"/>
          </a:xfrm>
          <a:prstGeom prst="rect">
            <a:avLst/>
          </a:prstGeom>
        </p:spPr>
      </p:pic>
      <p:pic>
        <p:nvPicPr>
          <p:cNvPr id="4" name="Imagen 3" descr="Captura de pantalla 2018-06-09 a las 8.41.17 p.m..png"/>
          <p:cNvPicPr>
            <a:picLocks noChangeAspect="1"/>
          </p:cNvPicPr>
          <p:nvPr/>
        </p:nvPicPr>
        <p:blipFill>
          <a:blip r:embed="rId3">
            <a:alphaModFix amt="4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" y="-2"/>
            <a:ext cx="9720265" cy="6300789"/>
          </a:xfrm>
          <a:prstGeom prst="rect">
            <a:avLst/>
          </a:prstGeom>
        </p:spPr>
      </p:pic>
      <p:sp>
        <p:nvSpPr>
          <p:cNvPr id="18" name="5 CuadroTexto"/>
          <p:cNvSpPr txBox="1"/>
          <p:nvPr/>
        </p:nvSpPr>
        <p:spPr>
          <a:xfrm>
            <a:off x="601034" y="692142"/>
            <a:ext cx="6587165" cy="39887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es-ES_tradnl" sz="6600" b="1" kern="800" spc="-150" dirty="0">
                <a:solidFill>
                  <a:srgbClr val="FFFFFF"/>
                </a:solidFill>
                <a:latin typeface="Arial"/>
                <a:cs typeface="Arial"/>
              </a:rPr>
              <a:t>No hay trabajo neutro para nuestra salud mental</a:t>
            </a:r>
          </a:p>
          <a:p>
            <a:endParaRPr lang="es-ES_tradnl" sz="1600" b="1" dirty="0">
              <a:solidFill>
                <a:srgbClr val="FFFFFF"/>
              </a:solidFill>
              <a:latin typeface="Arial"/>
              <a:cs typeface="Arial"/>
            </a:endParaRPr>
          </a:p>
          <a:p>
            <a:endParaRPr lang="es-ES_tradnl" sz="1600" b="1" dirty="0">
              <a:solidFill>
                <a:srgbClr val="FFFFFF"/>
              </a:solidFill>
              <a:latin typeface="Arial"/>
              <a:cs typeface="Arial"/>
            </a:endParaRPr>
          </a:p>
          <a:p>
            <a:r>
              <a:rPr lang="es-CL" sz="1600" b="1" dirty="0">
                <a:solidFill>
                  <a:srgbClr val="FFFFFF"/>
                </a:solidFill>
                <a:latin typeface="Arial"/>
                <a:cs typeface="Arial"/>
              </a:rPr>
              <a:t>Christophe Dejours</a:t>
            </a: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14007" y="452275"/>
            <a:ext cx="635000" cy="63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2072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3 Título"/>
          <p:cNvSpPr txBox="1">
            <a:spLocks/>
          </p:cNvSpPr>
          <p:nvPr/>
        </p:nvSpPr>
        <p:spPr>
          <a:xfrm>
            <a:off x="461118" y="264066"/>
            <a:ext cx="8248615" cy="225895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CL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ualización Protocolo de Riesgos Psicosociales</a:t>
            </a:r>
            <a:endParaRPr lang="es-CL" sz="800" kern="800" spc="50" dirty="0">
              <a:solidFill>
                <a:schemeClr val="tx1">
                  <a:lumMod val="50000"/>
                  <a:lumOff val="50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1" name="3 Título"/>
          <p:cNvSpPr txBox="1">
            <a:spLocks/>
          </p:cNvSpPr>
          <p:nvPr/>
        </p:nvSpPr>
        <p:spPr>
          <a:xfrm>
            <a:off x="452418" y="452051"/>
            <a:ext cx="6724905" cy="377747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CL" sz="2000" dirty="0">
                <a:solidFill>
                  <a:srgbClr val="215968"/>
                </a:solidFill>
                <a:latin typeface="Arial"/>
                <a:cs typeface="Arial"/>
              </a:rPr>
              <a:t>Apoyo de la Asociación Chilena de Seguridad</a:t>
            </a:r>
          </a:p>
        </p:txBody>
      </p:sp>
      <p:pic>
        <p:nvPicPr>
          <p:cNvPr id="18" name="Imagen 1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14007" y="452275"/>
            <a:ext cx="635000" cy="635000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942"/>
          <a:stretch/>
        </p:blipFill>
        <p:spPr bwMode="auto">
          <a:xfrm>
            <a:off x="261810" y="1692322"/>
            <a:ext cx="9149007" cy="28446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9049321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3 Título"/>
          <p:cNvSpPr txBox="1">
            <a:spLocks/>
          </p:cNvSpPr>
          <p:nvPr/>
        </p:nvSpPr>
        <p:spPr>
          <a:xfrm>
            <a:off x="461118" y="264066"/>
            <a:ext cx="8248615" cy="225895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CL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ualización Protocolo de Riesgos Psicosociales</a:t>
            </a:r>
            <a:endParaRPr lang="es-CL" sz="800" kern="800" spc="50" dirty="0">
              <a:solidFill>
                <a:schemeClr val="tx1">
                  <a:lumMod val="50000"/>
                  <a:lumOff val="50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1" name="3 Título"/>
          <p:cNvSpPr txBox="1">
            <a:spLocks/>
          </p:cNvSpPr>
          <p:nvPr/>
        </p:nvSpPr>
        <p:spPr>
          <a:xfrm>
            <a:off x="452418" y="452051"/>
            <a:ext cx="6724905" cy="377747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CL" sz="2000" dirty="0">
                <a:solidFill>
                  <a:srgbClr val="215968"/>
                </a:solidFill>
                <a:latin typeface="Arial"/>
                <a:cs typeface="Arial"/>
              </a:rPr>
              <a:t>Apoyo de la Asociación Chilena de Seguridad</a:t>
            </a:r>
          </a:p>
        </p:txBody>
      </p:sp>
      <p:pic>
        <p:nvPicPr>
          <p:cNvPr id="17" name="9 Imagen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4003" y="4188821"/>
            <a:ext cx="3317233" cy="1912022"/>
          </a:xfrm>
          <a:prstGeom prst="rect">
            <a:avLst/>
          </a:prstGeom>
          <a:ln>
            <a:solidFill>
              <a:srgbClr val="1E7032"/>
            </a:solidFill>
          </a:ln>
        </p:spPr>
      </p:pic>
      <p:pic>
        <p:nvPicPr>
          <p:cNvPr id="18" name="Imagen 1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14007" y="452275"/>
            <a:ext cx="635000" cy="635000"/>
          </a:xfrm>
          <a:prstGeom prst="rect">
            <a:avLst/>
          </a:prstGeom>
        </p:spPr>
      </p:pic>
      <p:pic>
        <p:nvPicPr>
          <p:cNvPr id="19" name="4 Imagen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165"/>
          <a:stretch/>
        </p:blipFill>
        <p:spPr>
          <a:xfrm>
            <a:off x="676114" y="1332410"/>
            <a:ext cx="2730546" cy="103632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0" name="5 Imagen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25"/>
          <a:stretch/>
        </p:blipFill>
        <p:spPr>
          <a:xfrm>
            <a:off x="669660" y="2526364"/>
            <a:ext cx="2737000" cy="136637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1" name="7 Imagen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93"/>
          <a:stretch/>
        </p:blipFill>
        <p:spPr>
          <a:xfrm>
            <a:off x="5973789" y="1332408"/>
            <a:ext cx="2440175" cy="476843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" name="8 Imagen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52"/>
          <a:stretch/>
        </p:blipFill>
        <p:spPr>
          <a:xfrm>
            <a:off x="669660" y="4188821"/>
            <a:ext cx="1561239" cy="191202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" name="6 Imagen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42"/>
          <a:stretch/>
        </p:blipFill>
        <p:spPr>
          <a:xfrm>
            <a:off x="3749214" y="1332408"/>
            <a:ext cx="1882022" cy="2586447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4042052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3 Título"/>
          <p:cNvSpPr txBox="1">
            <a:spLocks/>
          </p:cNvSpPr>
          <p:nvPr/>
        </p:nvSpPr>
        <p:spPr>
          <a:xfrm>
            <a:off x="461118" y="264066"/>
            <a:ext cx="8248615" cy="225895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CL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ualización Protocolo de Riesgos Psicosociales</a:t>
            </a:r>
            <a:endParaRPr lang="es-CL" sz="800" kern="800" spc="50" dirty="0">
              <a:solidFill>
                <a:schemeClr val="tx1">
                  <a:lumMod val="50000"/>
                  <a:lumOff val="50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6" name="3 Título"/>
          <p:cNvSpPr txBox="1">
            <a:spLocks/>
          </p:cNvSpPr>
          <p:nvPr/>
        </p:nvSpPr>
        <p:spPr>
          <a:xfrm>
            <a:off x="452418" y="452051"/>
            <a:ext cx="6724905" cy="377747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CL" sz="2000" dirty="0">
                <a:solidFill>
                  <a:srgbClr val="215968"/>
                </a:solidFill>
                <a:latin typeface="Arial"/>
                <a:cs typeface="Arial"/>
              </a:rPr>
              <a:t>Apoyo Asociación Chilena de Seguridad</a:t>
            </a: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14007" y="452275"/>
            <a:ext cx="635000" cy="635000"/>
          </a:xfrm>
          <a:prstGeom prst="rect">
            <a:avLst/>
          </a:prstGeom>
        </p:spPr>
      </p:pic>
      <p:pic>
        <p:nvPicPr>
          <p:cNvPr id="2" name="Imagen 1" descr="MB Situaciones Violentas Manejo Pacientes_V03-01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269" y="1327271"/>
            <a:ext cx="1500212" cy="1800000"/>
          </a:xfrm>
          <a:prstGeom prst="rect">
            <a:avLst/>
          </a:prstGeom>
          <a:ln w="6350" cmpd="sng">
            <a:solidFill>
              <a:schemeClr val="bg1">
                <a:lumMod val="50000"/>
              </a:schemeClr>
            </a:solidFill>
          </a:ln>
        </p:spPr>
      </p:pic>
      <p:pic>
        <p:nvPicPr>
          <p:cNvPr id="3" name="Imagen 2" descr="MB Situaciones Violentas Manejo Pacientes_V02-01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6874" y="1327271"/>
            <a:ext cx="1500212" cy="1800000"/>
          </a:xfrm>
          <a:prstGeom prst="rect">
            <a:avLst/>
          </a:prstGeom>
          <a:ln w="6350" cmpd="sng">
            <a:solidFill>
              <a:schemeClr val="bg1">
                <a:lumMod val="50000"/>
              </a:schemeClr>
            </a:solidFill>
          </a:ln>
        </p:spPr>
      </p:pic>
      <p:pic>
        <p:nvPicPr>
          <p:cNvPr id="4" name="Imagen 3" descr="MB Situaciones Violentas Manejo Pacientes_V01-01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8776" y="1327271"/>
            <a:ext cx="1500212" cy="1800000"/>
          </a:xfrm>
          <a:prstGeom prst="rect">
            <a:avLst/>
          </a:prstGeom>
          <a:ln w="6350" cmpd="sng">
            <a:solidFill>
              <a:schemeClr val="bg1">
                <a:lumMod val="50000"/>
              </a:schemeClr>
            </a:solidFill>
          </a:ln>
        </p:spPr>
      </p:pic>
      <p:pic>
        <p:nvPicPr>
          <p:cNvPr id="5" name="Imagen 4" descr="salud1-01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6887" y="1327271"/>
            <a:ext cx="1349864" cy="1800000"/>
          </a:xfrm>
          <a:prstGeom prst="rect">
            <a:avLst/>
          </a:prstGeom>
          <a:ln w="6350" cmpd="sng">
            <a:solidFill>
              <a:schemeClr val="bg1">
                <a:lumMod val="50000"/>
              </a:schemeClr>
            </a:solidFill>
          </a:ln>
        </p:spPr>
      </p:pic>
      <p:pic>
        <p:nvPicPr>
          <p:cNvPr id="7" name="Imagen 6" descr="salud2-01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6084" y="1327271"/>
            <a:ext cx="1349862" cy="1800000"/>
          </a:xfrm>
          <a:prstGeom prst="rect">
            <a:avLst/>
          </a:prstGeom>
          <a:ln w="6350" cmpd="sng">
            <a:solidFill>
              <a:schemeClr val="bg1">
                <a:lumMod val="50000"/>
              </a:schemeClr>
            </a:solidFill>
          </a:ln>
        </p:spPr>
      </p:pic>
      <p:pic>
        <p:nvPicPr>
          <p:cNvPr id="8" name="Imagen 7" descr="programa salud1.png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66"/>
          <a:stretch/>
        </p:blipFill>
        <p:spPr>
          <a:xfrm>
            <a:off x="522939" y="3360283"/>
            <a:ext cx="3952563" cy="2520000"/>
          </a:xfrm>
          <a:prstGeom prst="rect">
            <a:avLst/>
          </a:prstGeom>
          <a:ln w="6350" cmpd="sng">
            <a:solidFill>
              <a:schemeClr val="bg1">
                <a:lumMod val="50000"/>
              </a:schemeClr>
            </a:solidFill>
          </a:ln>
        </p:spPr>
      </p:pic>
      <p:pic>
        <p:nvPicPr>
          <p:cNvPr id="9" name="Imagen 8" descr="programa salud2.pn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5181" y="3360283"/>
            <a:ext cx="4035938" cy="2520000"/>
          </a:xfrm>
          <a:prstGeom prst="rect">
            <a:avLst/>
          </a:prstGeom>
          <a:ln w="6350" cmpd="sng">
            <a:solidFill>
              <a:schemeClr val="bg1">
                <a:lumMod val="50000"/>
              </a:schemeClr>
            </a:solidFill>
          </a:ln>
        </p:spPr>
      </p:pic>
      <p:sp>
        <p:nvSpPr>
          <p:cNvPr id="13" name="3 Título"/>
          <p:cNvSpPr txBox="1">
            <a:spLocks/>
          </p:cNvSpPr>
          <p:nvPr/>
        </p:nvSpPr>
        <p:spPr>
          <a:xfrm>
            <a:off x="441117" y="981388"/>
            <a:ext cx="5579046" cy="598498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CL" sz="1300" dirty="0">
                <a:solidFill>
                  <a:srgbClr val="004A52"/>
                </a:solidFill>
                <a:latin typeface="Arial"/>
                <a:cs typeface="Arial"/>
              </a:rPr>
              <a:t>Kit Salud</a:t>
            </a:r>
          </a:p>
        </p:txBody>
      </p:sp>
    </p:spTree>
    <p:extLst>
      <p:ext uri="{BB962C8B-B14F-4D97-AF65-F5344CB8AC3E}">
        <p14:creationId xmlns:p14="http://schemas.microsoft.com/office/powerpoint/2010/main" val="130688276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3 Título"/>
          <p:cNvSpPr txBox="1">
            <a:spLocks/>
          </p:cNvSpPr>
          <p:nvPr/>
        </p:nvSpPr>
        <p:spPr>
          <a:xfrm>
            <a:off x="461118" y="264066"/>
            <a:ext cx="8248615" cy="225895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CL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ualización Protocolo de Riesgos Psicosociales</a:t>
            </a:r>
            <a:endParaRPr lang="es-CL" sz="800" kern="800" spc="50" dirty="0">
              <a:solidFill>
                <a:schemeClr val="tx1">
                  <a:lumMod val="50000"/>
                  <a:lumOff val="50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8" name="3 Título"/>
          <p:cNvSpPr txBox="1">
            <a:spLocks/>
          </p:cNvSpPr>
          <p:nvPr/>
        </p:nvSpPr>
        <p:spPr>
          <a:xfrm>
            <a:off x="452418" y="452051"/>
            <a:ext cx="6724905" cy="377747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CL" sz="2000" dirty="0">
                <a:solidFill>
                  <a:srgbClr val="215968"/>
                </a:solidFill>
                <a:latin typeface="Arial"/>
                <a:cs typeface="Arial"/>
              </a:rPr>
              <a:t>Apoyo Asociación Chilena de Seguridad</a:t>
            </a: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14007" y="452275"/>
            <a:ext cx="635000" cy="635000"/>
          </a:xfrm>
          <a:prstGeom prst="rect">
            <a:avLst/>
          </a:prstGeom>
        </p:spPr>
      </p:pic>
      <p:pic>
        <p:nvPicPr>
          <p:cNvPr id="2" name="Imagen 1" descr="gobierno1-01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9738" y="1469302"/>
            <a:ext cx="1619836" cy="2160000"/>
          </a:xfrm>
          <a:prstGeom prst="rect">
            <a:avLst/>
          </a:prstGeom>
          <a:ln w="6350" cmpd="sng">
            <a:solidFill>
              <a:schemeClr val="bg1">
                <a:lumMod val="50000"/>
              </a:schemeClr>
            </a:solidFill>
          </a:ln>
        </p:spPr>
      </p:pic>
      <p:pic>
        <p:nvPicPr>
          <p:cNvPr id="4" name="Imagen 3" descr="gobierno3-01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9737" y="3745716"/>
            <a:ext cx="1619837" cy="2160000"/>
          </a:xfrm>
          <a:prstGeom prst="rect">
            <a:avLst/>
          </a:prstGeom>
          <a:ln w="6350" cmpd="sng">
            <a:solidFill>
              <a:schemeClr val="bg1">
                <a:lumMod val="50000"/>
              </a:schemeClr>
            </a:solidFill>
          </a:ln>
        </p:spPr>
      </p:pic>
      <p:pic>
        <p:nvPicPr>
          <p:cNvPr id="9" name="Imagen 8" descr="Ficha Tecnica_2015_Control violencia1.pdf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622" y="1455529"/>
            <a:ext cx="2657077" cy="3438570"/>
          </a:xfrm>
          <a:prstGeom prst="rect">
            <a:avLst/>
          </a:prstGeom>
          <a:ln w="6350" cmpd="sng">
            <a:solidFill>
              <a:schemeClr val="bg1">
                <a:lumMod val="50000"/>
              </a:schemeClr>
            </a:solidFill>
          </a:ln>
        </p:spPr>
      </p:pic>
      <p:pic>
        <p:nvPicPr>
          <p:cNvPr id="10" name="Imagen 9" descr="combatir violencia1-01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4482" y="1455529"/>
            <a:ext cx="1751686" cy="3240000"/>
          </a:xfrm>
          <a:prstGeom prst="rect">
            <a:avLst/>
          </a:prstGeom>
          <a:ln w="6350" cmpd="sng">
            <a:solidFill>
              <a:schemeClr val="bg1">
                <a:lumMod val="50000"/>
              </a:schemeClr>
            </a:solidFill>
          </a:ln>
        </p:spPr>
      </p:pic>
      <p:pic>
        <p:nvPicPr>
          <p:cNvPr id="11" name="Imagen 10" descr="combatir violencia2-01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2643" y="1459533"/>
            <a:ext cx="1757288" cy="3240000"/>
          </a:xfrm>
          <a:prstGeom prst="rect">
            <a:avLst/>
          </a:prstGeom>
          <a:ln w="6350" cmpd="sng">
            <a:solidFill>
              <a:schemeClr val="bg1">
                <a:lumMod val="50000"/>
              </a:schemeClr>
            </a:solidFill>
          </a:ln>
        </p:spPr>
      </p:pic>
      <p:sp>
        <p:nvSpPr>
          <p:cNvPr id="12" name="3 Título"/>
          <p:cNvSpPr txBox="1">
            <a:spLocks/>
          </p:cNvSpPr>
          <p:nvPr/>
        </p:nvSpPr>
        <p:spPr>
          <a:xfrm>
            <a:off x="441117" y="981388"/>
            <a:ext cx="5579046" cy="598498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CL" sz="1300" dirty="0">
                <a:solidFill>
                  <a:srgbClr val="004A52"/>
                </a:solidFill>
                <a:latin typeface="Arial"/>
                <a:cs typeface="Arial"/>
              </a:rPr>
              <a:t>Kit Gobierno</a:t>
            </a:r>
          </a:p>
        </p:txBody>
      </p:sp>
    </p:spTree>
    <p:extLst>
      <p:ext uri="{BB962C8B-B14F-4D97-AF65-F5344CB8AC3E}">
        <p14:creationId xmlns:p14="http://schemas.microsoft.com/office/powerpoint/2010/main" val="302018086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3 Título"/>
          <p:cNvSpPr txBox="1">
            <a:spLocks/>
          </p:cNvSpPr>
          <p:nvPr/>
        </p:nvSpPr>
        <p:spPr>
          <a:xfrm>
            <a:off x="461118" y="264066"/>
            <a:ext cx="8248615" cy="225895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CL" sz="8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ualización Protocolo de Riesgos Psicosociales</a:t>
            </a:r>
            <a:endParaRPr lang="es-CL" sz="800" kern="800" spc="50" dirty="0">
              <a:solidFill>
                <a:schemeClr val="tx1">
                  <a:lumMod val="50000"/>
                  <a:lumOff val="50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6" name="3 Título"/>
          <p:cNvSpPr txBox="1">
            <a:spLocks/>
          </p:cNvSpPr>
          <p:nvPr/>
        </p:nvSpPr>
        <p:spPr>
          <a:xfrm>
            <a:off x="452418" y="452051"/>
            <a:ext cx="6724905" cy="377747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CL" sz="2000" dirty="0">
                <a:solidFill>
                  <a:srgbClr val="215968"/>
                </a:solidFill>
                <a:latin typeface="Arial"/>
                <a:cs typeface="Arial"/>
              </a:rPr>
              <a:t>Apoyo Asociación Chilena de Seguridad</a:t>
            </a: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14007" y="452275"/>
            <a:ext cx="635000" cy="635000"/>
          </a:xfrm>
          <a:prstGeom prst="rect">
            <a:avLst/>
          </a:prstGeom>
        </p:spPr>
      </p:pic>
      <p:pic>
        <p:nvPicPr>
          <p:cNvPr id="2" name="Imagen 1" descr="Ficha Tecnica_2015_Violencia externa1-01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039" y="1455530"/>
            <a:ext cx="2503637" cy="3240000"/>
          </a:xfrm>
          <a:prstGeom prst="rect">
            <a:avLst/>
          </a:prstGeom>
          <a:ln w="6350" cmpd="sng">
            <a:solidFill>
              <a:schemeClr val="bg1">
                <a:lumMod val="50000"/>
              </a:schemeClr>
            </a:solidFill>
          </a:ln>
        </p:spPr>
      </p:pic>
      <p:pic>
        <p:nvPicPr>
          <p:cNvPr id="3" name="Imagen 2" descr="MB SALUD MENTAL DOCENTE1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6222" y="1455530"/>
            <a:ext cx="1942197" cy="2520000"/>
          </a:xfrm>
          <a:prstGeom prst="rect">
            <a:avLst/>
          </a:prstGeom>
          <a:ln w="6350" cmpd="sng">
            <a:solidFill>
              <a:schemeClr val="bg1">
                <a:lumMod val="50000"/>
              </a:schemeClr>
            </a:solidFill>
          </a:ln>
        </p:spPr>
      </p:pic>
      <p:pic>
        <p:nvPicPr>
          <p:cNvPr id="4" name="Imagen 3" descr="MB SALUD MENTAL DOCENTE2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7272" y="1455530"/>
            <a:ext cx="1942197" cy="2520000"/>
          </a:xfrm>
          <a:prstGeom prst="rect">
            <a:avLst/>
          </a:prstGeom>
          <a:ln w="6350" cmpd="sng">
            <a:solidFill>
              <a:schemeClr val="bg1">
                <a:lumMod val="50000"/>
              </a:schemeClr>
            </a:solidFill>
          </a:ln>
        </p:spPr>
      </p:pic>
      <p:pic>
        <p:nvPicPr>
          <p:cNvPr id="5" name="Imagen 4" descr="violencia educacion1-01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3988" y="1455530"/>
            <a:ext cx="1619837" cy="2160000"/>
          </a:xfrm>
          <a:prstGeom prst="rect">
            <a:avLst/>
          </a:prstGeom>
          <a:ln w="6350" cmpd="sng">
            <a:solidFill>
              <a:schemeClr val="bg1">
                <a:lumMod val="50000"/>
              </a:schemeClr>
            </a:solidFill>
          </a:ln>
        </p:spPr>
      </p:pic>
      <p:pic>
        <p:nvPicPr>
          <p:cNvPr id="7" name="Imagen 6" descr="violencia educacion3-01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3988" y="3721860"/>
            <a:ext cx="1619837" cy="2160000"/>
          </a:xfrm>
          <a:prstGeom prst="rect">
            <a:avLst/>
          </a:prstGeom>
          <a:ln w="6350" cmpd="sng">
            <a:solidFill>
              <a:schemeClr val="bg1">
                <a:lumMod val="50000"/>
              </a:schemeClr>
            </a:solidFill>
          </a:ln>
        </p:spPr>
      </p:pic>
      <p:sp>
        <p:nvSpPr>
          <p:cNvPr id="10" name="3 Título"/>
          <p:cNvSpPr txBox="1">
            <a:spLocks/>
          </p:cNvSpPr>
          <p:nvPr/>
        </p:nvSpPr>
        <p:spPr>
          <a:xfrm>
            <a:off x="441117" y="981388"/>
            <a:ext cx="5579046" cy="598498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CL" sz="1300" dirty="0">
                <a:solidFill>
                  <a:srgbClr val="004A52"/>
                </a:solidFill>
                <a:latin typeface="Arial"/>
                <a:cs typeface="Arial"/>
              </a:rPr>
              <a:t>Kit Educación</a:t>
            </a:r>
          </a:p>
        </p:txBody>
      </p:sp>
    </p:spTree>
    <p:extLst>
      <p:ext uri="{BB962C8B-B14F-4D97-AF65-F5344CB8AC3E}">
        <p14:creationId xmlns:p14="http://schemas.microsoft.com/office/powerpoint/2010/main" val="368001415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0542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Agrupar 6"/>
          <p:cNvGrpSpPr/>
          <p:nvPr/>
        </p:nvGrpSpPr>
        <p:grpSpPr>
          <a:xfrm>
            <a:off x="864577" y="1761485"/>
            <a:ext cx="1131205" cy="1102327"/>
            <a:chOff x="864577" y="1723573"/>
            <a:chExt cx="1131205" cy="1102327"/>
          </a:xfrm>
        </p:grpSpPr>
        <p:pic>
          <p:nvPicPr>
            <p:cNvPr id="5" name="Imagen 4" descr="logo_achs-02.pn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4577" y="1723573"/>
              <a:ext cx="1131205" cy="1102327"/>
            </a:xfrm>
            <a:prstGeom prst="rect">
              <a:avLst/>
            </a:prstGeom>
          </p:spPr>
        </p:pic>
        <p:cxnSp>
          <p:nvCxnSpPr>
            <p:cNvPr id="8" name="Conector recto 7"/>
            <p:cNvCxnSpPr/>
            <p:nvPr/>
          </p:nvCxnSpPr>
          <p:spPr>
            <a:xfrm>
              <a:off x="966348" y="2704620"/>
              <a:ext cx="927861" cy="0"/>
            </a:xfrm>
            <a:prstGeom prst="line">
              <a:avLst/>
            </a:prstGeom>
            <a:ln w="12700" cmpd="sng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Conector recto 11"/>
            <p:cNvCxnSpPr/>
            <p:nvPr/>
          </p:nvCxnSpPr>
          <p:spPr>
            <a:xfrm>
              <a:off x="966348" y="1838560"/>
              <a:ext cx="927861" cy="0"/>
            </a:xfrm>
            <a:prstGeom prst="line">
              <a:avLst/>
            </a:prstGeom>
            <a:ln w="12700" cmpd="sng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Conector recto 12"/>
            <p:cNvCxnSpPr/>
            <p:nvPr/>
          </p:nvCxnSpPr>
          <p:spPr>
            <a:xfrm>
              <a:off x="966348" y="1838560"/>
              <a:ext cx="0" cy="866060"/>
            </a:xfrm>
            <a:prstGeom prst="line">
              <a:avLst/>
            </a:prstGeom>
            <a:ln w="12700" cmpd="sng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ector recto 16"/>
            <p:cNvCxnSpPr/>
            <p:nvPr/>
          </p:nvCxnSpPr>
          <p:spPr>
            <a:xfrm>
              <a:off x="1894209" y="1838560"/>
              <a:ext cx="0" cy="866060"/>
            </a:xfrm>
            <a:prstGeom prst="line">
              <a:avLst/>
            </a:prstGeom>
            <a:ln w="12700" cmpd="sng"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" name="Imagen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2115" y="3137753"/>
            <a:ext cx="4206496" cy="663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2429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="" xmlns:a16="http://schemas.microsoft.com/office/drawing/2014/main" id="{C0E4A35E-61C7-4356-90BE-F57FECF625C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82278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6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="" xmlns:a16="http://schemas.microsoft.com/office/drawing/2014/main" id="{FA98E409-3CE6-4907-BEC5-471C70BF2CE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CL" sz="20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074" name="3 Título"/>
          <p:cNvSpPr>
            <a:spLocks noGrp="1"/>
          </p:cNvSpPr>
          <p:nvPr>
            <p:ph type="title"/>
          </p:nvPr>
        </p:nvSpPr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3075" tIns="33075" rIns="33075" bIns="3307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l" eaLnBrk="1" hangingPunct="1"/>
            <a:r>
              <a:rPr lang="es-CL" altLang="es-CL" sz="2000" dirty="0">
                <a:solidFill>
                  <a:srgbClr val="004A52"/>
                </a:solidFill>
                <a:latin typeface="Arial"/>
                <a:cs typeface="Arial"/>
              </a:rPr>
              <a:t>Modelo conceptual del riesgo psicosocial</a:t>
            </a:r>
          </a:p>
        </p:txBody>
      </p:sp>
      <p:sp>
        <p:nvSpPr>
          <p:cNvPr id="26" name="25 Rectángulo redondeado"/>
          <p:cNvSpPr/>
          <p:nvPr/>
        </p:nvSpPr>
        <p:spPr>
          <a:xfrm>
            <a:off x="4707058" y="1605099"/>
            <a:ext cx="2979009" cy="641683"/>
          </a:xfrm>
          <a:prstGeom prst="roundRect">
            <a:avLst/>
          </a:prstGeom>
          <a:solidFill>
            <a:schemeClr val="accent1"/>
          </a:solidFill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CL" sz="1654" b="1" dirty="0">
                <a:solidFill>
                  <a:srgbClr val="FFFFFF"/>
                </a:solidFill>
                <a:latin typeface="Calibri" pitchFamily="34" charset="0"/>
              </a:rPr>
              <a:t>Factores Psicosociales</a:t>
            </a:r>
            <a:endParaRPr lang="es-CL" sz="1654" dirty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27" name="26 Rectángulo redondeado"/>
          <p:cNvSpPr/>
          <p:nvPr/>
        </p:nvSpPr>
        <p:spPr>
          <a:xfrm>
            <a:off x="7175638" y="2490214"/>
            <a:ext cx="1389304" cy="901161"/>
          </a:xfrm>
          <a:prstGeom prst="roundRect">
            <a:avLst/>
          </a:prstGeom>
          <a:solidFill>
            <a:schemeClr val="accent1"/>
          </a:solidFill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CL" sz="1654" b="1" dirty="0">
                <a:solidFill>
                  <a:srgbClr val="FFFFFF"/>
                </a:solidFill>
                <a:latin typeface="Calibri" pitchFamily="34" charset="0"/>
              </a:rPr>
              <a:t>Medio Ambiente Laboral</a:t>
            </a:r>
          </a:p>
        </p:txBody>
      </p:sp>
      <p:sp>
        <p:nvSpPr>
          <p:cNvPr id="29" name="28 Flecha izquierda y derecha"/>
          <p:cNvSpPr/>
          <p:nvPr/>
        </p:nvSpPr>
        <p:spPr bwMode="auto">
          <a:xfrm>
            <a:off x="5389390" y="2490149"/>
            <a:ext cx="1605993" cy="771014"/>
          </a:xfrm>
          <a:prstGeom prst="leftRightArrow">
            <a:avLst/>
          </a:prstGeom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66143" tIns="66143" rIns="66143" bIns="66143" anchor="ctr">
            <a:spAutoFit/>
          </a:bodyPr>
          <a:lstStyle/>
          <a:p>
            <a:pPr marL="170656" indent="-170656" algn="ctr" defTabSz="848902">
              <a:buSzPct val="125000"/>
              <a:defRPr/>
            </a:pPr>
            <a:r>
              <a:rPr lang="es-CL" sz="1654" b="1" dirty="0">
                <a:solidFill>
                  <a:srgbClr val="FFFFFF"/>
                </a:solidFill>
                <a:latin typeface="Calibri" pitchFamily="34" charset="0"/>
              </a:rPr>
              <a:t>Interacción</a:t>
            </a:r>
          </a:p>
        </p:txBody>
      </p:sp>
      <p:sp>
        <p:nvSpPr>
          <p:cNvPr id="32" name="31 Rectángulo redondeado"/>
          <p:cNvSpPr/>
          <p:nvPr/>
        </p:nvSpPr>
        <p:spPr bwMode="auto">
          <a:xfrm>
            <a:off x="3867771" y="2456147"/>
            <a:ext cx="1382208" cy="969290"/>
          </a:xfrm>
          <a:prstGeom prst="roundRect">
            <a:avLst/>
          </a:prstGeom>
          <a:solidFill>
            <a:schemeClr val="accent1"/>
          </a:solidFill>
          <a:ln>
            <a:headEnd/>
            <a:tailEnd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lIns="66143" tIns="66143" rIns="66143" bIns="66143" anchor="ctr">
            <a:spAutoFit/>
          </a:bodyPr>
          <a:lstStyle/>
          <a:p>
            <a:pPr marL="170656" indent="-170656" algn="ctr" defTabSz="848902">
              <a:buSzPct val="125000"/>
              <a:defRPr/>
            </a:pPr>
            <a:endParaRPr lang="es-CL" sz="965" b="1" dirty="0">
              <a:solidFill>
                <a:srgbClr val="FFFFFF"/>
              </a:solidFill>
              <a:latin typeface="Calibri" pitchFamily="34" charset="0"/>
            </a:endParaRPr>
          </a:p>
          <a:p>
            <a:pPr marL="170656" indent="-170656" algn="ctr" defTabSz="848902">
              <a:buSzPct val="125000"/>
              <a:defRPr/>
            </a:pPr>
            <a:r>
              <a:rPr lang="es-CL" sz="1654" b="1" dirty="0">
                <a:solidFill>
                  <a:srgbClr val="FFFFFF"/>
                </a:solidFill>
                <a:latin typeface="Calibri" pitchFamily="34" charset="0"/>
              </a:rPr>
              <a:t>Trabajador</a:t>
            </a:r>
          </a:p>
          <a:p>
            <a:pPr marL="170656" indent="-170656" algn="ctr" defTabSz="848902">
              <a:buSzPct val="125000"/>
              <a:defRPr/>
            </a:pPr>
            <a:r>
              <a:rPr lang="es-CL" sz="1103" b="1" dirty="0">
                <a:solidFill>
                  <a:srgbClr val="FFFFFF"/>
                </a:solidFill>
                <a:latin typeface="Calibri" pitchFamily="34" charset="0"/>
              </a:rPr>
              <a:t>(</a:t>
            </a:r>
            <a:r>
              <a:rPr lang="es-CL" sz="1103" b="1" dirty="0" err="1">
                <a:solidFill>
                  <a:srgbClr val="FFFFFF"/>
                </a:solidFill>
                <a:latin typeface="Calibri" pitchFamily="34" charset="0"/>
              </a:rPr>
              <a:t>BioPsicoSocial</a:t>
            </a:r>
            <a:r>
              <a:rPr lang="es-CL" sz="1103" b="1" dirty="0">
                <a:solidFill>
                  <a:srgbClr val="FFFFFF"/>
                </a:solidFill>
                <a:latin typeface="Calibri" pitchFamily="34" charset="0"/>
              </a:rPr>
              <a:t>)</a:t>
            </a:r>
          </a:p>
          <a:p>
            <a:pPr marL="170656" indent="-170656" algn="ctr" defTabSz="848902">
              <a:buSzPct val="125000"/>
              <a:defRPr/>
            </a:pPr>
            <a:endParaRPr lang="es-CL" sz="1103" b="1" dirty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33" name="32 Rectángulo redondeado"/>
          <p:cNvSpPr/>
          <p:nvPr/>
        </p:nvSpPr>
        <p:spPr bwMode="auto">
          <a:xfrm>
            <a:off x="4793974" y="3643959"/>
            <a:ext cx="1222506" cy="366713"/>
          </a:xfrm>
          <a:prstGeom prst="roundRect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66143" tIns="66143" rIns="66143" bIns="66143" anchor="ctr">
            <a:spAutoFit/>
          </a:bodyPr>
          <a:lstStyle/>
          <a:p>
            <a:pPr marL="170656" indent="-170656" algn="ctr" defTabSz="848902">
              <a:buSzPct val="125000"/>
              <a:defRPr/>
            </a:pPr>
            <a:r>
              <a:rPr lang="es-CL" sz="1286" dirty="0">
                <a:solidFill>
                  <a:srgbClr val="FFFFFF"/>
                </a:solidFill>
                <a:latin typeface="Calibri" pitchFamily="34" charset="0"/>
              </a:rPr>
              <a:t>Satisfacción</a:t>
            </a:r>
          </a:p>
        </p:txBody>
      </p:sp>
      <p:sp>
        <p:nvSpPr>
          <p:cNvPr id="34" name="33 Rectángulo redondeado"/>
          <p:cNvSpPr/>
          <p:nvPr/>
        </p:nvSpPr>
        <p:spPr bwMode="auto">
          <a:xfrm>
            <a:off x="5556189" y="4208947"/>
            <a:ext cx="1222506" cy="366713"/>
          </a:xfrm>
          <a:prstGeom prst="roundRect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66143" tIns="66143" rIns="66143" bIns="66143" anchor="ctr">
            <a:spAutoFit/>
          </a:bodyPr>
          <a:lstStyle/>
          <a:p>
            <a:pPr marL="170656" indent="-170656" algn="ctr" defTabSz="848902">
              <a:buSzPct val="125000"/>
              <a:defRPr/>
            </a:pPr>
            <a:r>
              <a:rPr lang="es-CL" sz="1286" dirty="0">
                <a:solidFill>
                  <a:srgbClr val="FFFFFF"/>
                </a:solidFill>
                <a:latin typeface="Calibri" pitchFamily="34" charset="0"/>
              </a:rPr>
              <a:t>Salud</a:t>
            </a:r>
          </a:p>
        </p:txBody>
      </p:sp>
      <p:sp>
        <p:nvSpPr>
          <p:cNvPr id="35" name="34 Rectángulo redondeado"/>
          <p:cNvSpPr/>
          <p:nvPr/>
        </p:nvSpPr>
        <p:spPr bwMode="auto">
          <a:xfrm>
            <a:off x="6370048" y="3656230"/>
            <a:ext cx="1222506" cy="366713"/>
          </a:xfrm>
          <a:prstGeom prst="roundRect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lIns="66143" tIns="66143" rIns="66143" bIns="66143" anchor="ctr">
            <a:spAutoFit/>
          </a:bodyPr>
          <a:lstStyle/>
          <a:p>
            <a:pPr marL="170656" indent="-170656" algn="ctr" defTabSz="848902">
              <a:buSzPct val="125000"/>
              <a:defRPr/>
            </a:pPr>
            <a:r>
              <a:rPr lang="es-CL" sz="1286">
                <a:solidFill>
                  <a:srgbClr val="FFFFFF"/>
                </a:solidFill>
                <a:latin typeface="Calibri" pitchFamily="34" charset="0"/>
              </a:rPr>
              <a:t>Rendimiento</a:t>
            </a:r>
          </a:p>
        </p:txBody>
      </p:sp>
      <p:pic>
        <p:nvPicPr>
          <p:cNvPr id="13" name="12 Imagen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848" y="922861"/>
            <a:ext cx="2534704" cy="4897563"/>
          </a:xfrm>
          <a:prstGeom prst="rect">
            <a:avLst/>
          </a:prstGeom>
          <a:effectLst>
            <a:softEdge rad="31750"/>
          </a:effectLst>
        </p:spPr>
      </p:pic>
      <p:sp>
        <p:nvSpPr>
          <p:cNvPr id="11" name="3 Título">
            <a:extLst>
              <a:ext uri="{FF2B5EF4-FFF2-40B4-BE49-F238E27FC236}">
                <a16:creationId xmlns="" xmlns:a16="http://schemas.microsoft.com/office/drawing/2014/main" id="{E97D0B88-1F00-46C4-9F58-2AA0F5519369}"/>
              </a:ext>
            </a:extLst>
          </p:cNvPr>
          <p:cNvSpPr txBox="1">
            <a:spLocks/>
          </p:cNvSpPr>
          <p:nvPr/>
        </p:nvSpPr>
        <p:spPr>
          <a:xfrm>
            <a:off x="420463" y="144219"/>
            <a:ext cx="8248615" cy="225895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CL" sz="800" dirty="0">
                <a:latin typeface="Arial" panose="020B0604020202020204" pitchFamily="34" charset="0"/>
                <a:cs typeface="Arial" panose="020B0604020202020204" pitchFamily="34" charset="0"/>
              </a:rPr>
              <a:t>Comité de aplicación del Protocolo de Riesgos psicosociales</a:t>
            </a:r>
            <a:endParaRPr lang="es-CL" sz="800" kern="800" spc="50" dirty="0">
              <a:latin typeface="Arial"/>
              <a:cs typeface="Arial"/>
            </a:endParaRPr>
          </a:p>
        </p:txBody>
      </p:sp>
      <p:sp>
        <p:nvSpPr>
          <p:cNvPr id="14" name="Estrella de 4 puntas 13"/>
          <p:cNvSpPr/>
          <p:nvPr/>
        </p:nvSpPr>
        <p:spPr>
          <a:xfrm>
            <a:off x="9294920" y="630315"/>
            <a:ext cx="301841" cy="399495"/>
          </a:xfrm>
          <a:prstGeom prst="star4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1697421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29" grpId="0" animBg="1"/>
      <p:bldP spid="33" grpId="0" animBg="1"/>
      <p:bldP spid="34" grpId="0" animBg="1"/>
      <p:bldP spid="35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="" xmlns:a16="http://schemas.microsoft.com/office/drawing/2014/main" id="{97D69689-4548-4584-9838-13CD7695DB8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443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2" name="Diapositiva de think-cell" r:id="rId6" imgW="415" imgH="416" progId="TCLayout.ActiveDocument.1">
                  <p:embed/>
                </p:oleObj>
              </mc:Choice>
              <mc:Fallback>
                <p:oleObj name="Diapositiva de think-cell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="" xmlns:a16="http://schemas.microsoft.com/office/drawing/2014/main" id="{A41EBFC5-4A4E-48E7-974C-FBB3D07AF6D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CL" sz="20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3 Título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l"/>
            <a:r>
              <a:rPr lang="es-CL" altLang="es-CL" dirty="0"/>
              <a:t>¿Porqué preocuparse de los Riesgos Psicosociales?</a:t>
            </a:r>
          </a:p>
        </p:txBody>
      </p:sp>
      <p:pic>
        <p:nvPicPr>
          <p:cNvPr id="2" name="1 Imagen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129888" y="834887"/>
            <a:ext cx="2434838" cy="5015379"/>
          </a:xfrm>
          <a:prstGeom prst="rect">
            <a:avLst/>
          </a:prstGeom>
        </p:spPr>
      </p:pic>
      <p:graphicFrame>
        <p:nvGraphicFramePr>
          <p:cNvPr id="6" name="5 Diagrama"/>
          <p:cNvGraphicFramePr/>
          <p:nvPr>
            <p:extLst>
              <p:ext uri="{D42A27DB-BD31-4B8C-83A1-F6EECF244321}">
                <p14:modId xmlns:p14="http://schemas.microsoft.com/office/powerpoint/2010/main" val="1709747159"/>
              </p:ext>
            </p:extLst>
          </p:nvPr>
        </p:nvGraphicFramePr>
        <p:xfrm>
          <a:off x="4727817" y="779339"/>
          <a:ext cx="4234070" cy="50279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grpSp>
        <p:nvGrpSpPr>
          <p:cNvPr id="5" name="4 Grupo"/>
          <p:cNvGrpSpPr/>
          <p:nvPr/>
        </p:nvGrpSpPr>
        <p:grpSpPr>
          <a:xfrm>
            <a:off x="1023005" y="2290349"/>
            <a:ext cx="2447822" cy="2513979"/>
            <a:chOff x="2462673" y="68407"/>
            <a:chExt cx="3283564" cy="3283564"/>
          </a:xfrm>
        </p:grpSpPr>
        <p:sp>
          <p:nvSpPr>
            <p:cNvPr id="7" name="6 Elipse"/>
            <p:cNvSpPr/>
            <p:nvPr/>
          </p:nvSpPr>
          <p:spPr>
            <a:xfrm>
              <a:off x="2462673" y="68407"/>
              <a:ext cx="3283564" cy="3283564"/>
            </a:xfrm>
            <a:prstGeom prst="ellips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alpha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</p:sp>
        <p:sp>
          <p:nvSpPr>
            <p:cNvPr id="8" name="Elipse 4"/>
            <p:cNvSpPr/>
            <p:nvPr/>
          </p:nvSpPr>
          <p:spPr>
            <a:xfrm>
              <a:off x="2864612" y="971387"/>
              <a:ext cx="2407947" cy="14776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algn="ctr" defTabSz="1021017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CL" sz="1838" dirty="0"/>
                <a:t>Protocolo de Vigilancia de Riesgos Psicosociales</a:t>
              </a:r>
              <a:endParaRPr lang="en-US" sz="1838" dirty="0"/>
            </a:p>
          </p:txBody>
        </p:sp>
      </p:grpSp>
      <p:sp>
        <p:nvSpPr>
          <p:cNvPr id="10" name="3 Título">
            <a:extLst>
              <a:ext uri="{FF2B5EF4-FFF2-40B4-BE49-F238E27FC236}">
                <a16:creationId xmlns="" xmlns:a16="http://schemas.microsoft.com/office/drawing/2014/main" id="{54C463C2-7D1C-4BB8-98C8-BBDB3761C1E9}"/>
              </a:ext>
            </a:extLst>
          </p:cNvPr>
          <p:cNvSpPr txBox="1">
            <a:spLocks/>
          </p:cNvSpPr>
          <p:nvPr/>
        </p:nvSpPr>
        <p:spPr>
          <a:xfrm>
            <a:off x="420463" y="144219"/>
            <a:ext cx="8248615" cy="225895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CL" sz="800" dirty="0">
                <a:latin typeface="Arial" panose="020B0604020202020204" pitchFamily="34" charset="0"/>
                <a:cs typeface="Arial" panose="020B0604020202020204" pitchFamily="34" charset="0"/>
              </a:rPr>
              <a:t>Comité de aplicación del Protocolo de Riesgos psicosociales</a:t>
            </a:r>
            <a:endParaRPr lang="es-CL" sz="800" kern="800" spc="50" dirty="0">
              <a:latin typeface="Arial"/>
              <a:cs typeface="Arial"/>
            </a:endParaRPr>
          </a:p>
        </p:txBody>
      </p:sp>
      <p:sp>
        <p:nvSpPr>
          <p:cNvPr id="11" name="Estrella de 4 puntas 10"/>
          <p:cNvSpPr/>
          <p:nvPr/>
        </p:nvSpPr>
        <p:spPr>
          <a:xfrm>
            <a:off x="9294920" y="630315"/>
            <a:ext cx="301841" cy="399495"/>
          </a:xfrm>
          <a:prstGeom prst="star4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2060025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" grpId="0">
        <p:bldAsOne/>
      </p:bldGraphic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="" xmlns:a16="http://schemas.microsoft.com/office/drawing/2014/main" id="{2416E9C8-87C6-422A-9385-25A16005661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1286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9" name="Diapositiva de think-cell" r:id="rId5" imgW="415" imgH="416" progId="TCLayout.ActiveDocument.1">
                  <p:embed/>
                </p:oleObj>
              </mc:Choice>
              <mc:Fallback>
                <p:oleObj name="Diapositiva de think-cell" r:id="rId5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ángulo 7" hidden="1">
            <a:extLst>
              <a:ext uri="{FF2B5EF4-FFF2-40B4-BE49-F238E27FC236}">
                <a16:creationId xmlns="" xmlns:a16="http://schemas.microsoft.com/office/drawing/2014/main" id="{E2A88CA2-DC47-45CF-9F4D-8B5146E82C4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CL" sz="400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6" name="Picture 1" descr="1219287.jpg">
            <a:extLst>
              <a:ext uri="{FF2B5EF4-FFF2-40B4-BE49-F238E27FC236}">
                <a16:creationId xmlns="" xmlns:a16="http://schemas.microsoft.com/office/drawing/2014/main" id="{279B3315-02DF-4205-84BB-85338833BEE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-13618"/>
            <a:ext cx="9720263" cy="63144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3" name="2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9FA6486-1192-41E2-B325-83AE41CAEC79}" type="slidenum">
              <a:rPr lang="es-CL" smtClean="0">
                <a:solidFill>
                  <a:srgbClr val="000000"/>
                </a:solidFill>
              </a:rPr>
              <a:pPr>
                <a:defRPr/>
              </a:pPr>
              <a:t>5</a:t>
            </a:fld>
            <a:endParaRPr lang="es-CL">
              <a:solidFill>
                <a:srgbClr val="000000"/>
              </a:solidFill>
            </a:endParaRPr>
          </a:p>
        </p:txBody>
      </p:sp>
      <p:graphicFrame>
        <p:nvGraphicFramePr>
          <p:cNvPr id="6" name="5 Diagrama"/>
          <p:cNvGraphicFramePr/>
          <p:nvPr>
            <p:extLst>
              <p:ext uri="{D42A27DB-BD31-4B8C-83A1-F6EECF244321}">
                <p14:modId xmlns:p14="http://schemas.microsoft.com/office/powerpoint/2010/main" val="399580198"/>
              </p:ext>
            </p:extLst>
          </p:nvPr>
        </p:nvGraphicFramePr>
        <p:xfrm>
          <a:off x="709132" y="1144667"/>
          <a:ext cx="8290895" cy="20121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7" name="6 Diagrama"/>
          <p:cNvGraphicFramePr/>
          <p:nvPr>
            <p:extLst>
              <p:ext uri="{D42A27DB-BD31-4B8C-83A1-F6EECF244321}">
                <p14:modId xmlns:p14="http://schemas.microsoft.com/office/powerpoint/2010/main" val="45830083"/>
              </p:ext>
            </p:extLst>
          </p:nvPr>
        </p:nvGraphicFramePr>
        <p:xfrm>
          <a:off x="709131" y="2485328"/>
          <a:ext cx="8290895" cy="22434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11" name="6 Diagrama">
            <a:extLst>
              <a:ext uri="{FF2B5EF4-FFF2-40B4-BE49-F238E27FC236}">
                <a16:creationId xmlns="" xmlns:a16="http://schemas.microsoft.com/office/drawing/2014/main" id="{9F878909-6506-4214-93CF-EC57D390E40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60044187"/>
              </p:ext>
            </p:extLst>
          </p:nvPr>
        </p:nvGraphicFramePr>
        <p:xfrm>
          <a:off x="720237" y="3719745"/>
          <a:ext cx="8290895" cy="27709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sp>
        <p:nvSpPr>
          <p:cNvPr id="17" name="3 Título">
            <a:extLst>
              <a:ext uri="{FF2B5EF4-FFF2-40B4-BE49-F238E27FC236}">
                <a16:creationId xmlns="" xmlns:a16="http://schemas.microsoft.com/office/drawing/2014/main" id="{2102F0BD-7466-48EE-8B50-FB523F299B2D}"/>
              </a:ext>
            </a:extLst>
          </p:cNvPr>
          <p:cNvSpPr txBox="1">
            <a:spLocks/>
          </p:cNvSpPr>
          <p:nvPr/>
        </p:nvSpPr>
        <p:spPr>
          <a:xfrm>
            <a:off x="461118" y="264066"/>
            <a:ext cx="8248615" cy="225895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CL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ité de aplicación del Protocolo de Riesgos psicosociales</a:t>
            </a:r>
            <a:endParaRPr lang="es-CL" sz="800" kern="800" spc="5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8" name="3 Título">
            <a:extLst>
              <a:ext uri="{FF2B5EF4-FFF2-40B4-BE49-F238E27FC236}">
                <a16:creationId xmlns="" xmlns:a16="http://schemas.microsoft.com/office/drawing/2014/main" id="{10851702-BE82-4ECF-8F0B-6BBFF268782F}"/>
              </a:ext>
            </a:extLst>
          </p:cNvPr>
          <p:cNvSpPr txBox="1">
            <a:spLocks/>
          </p:cNvSpPr>
          <p:nvPr/>
        </p:nvSpPr>
        <p:spPr>
          <a:xfrm>
            <a:off x="452418" y="452051"/>
            <a:ext cx="7906491" cy="756320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CL" sz="2000" dirty="0">
                <a:solidFill>
                  <a:schemeClr val="bg1"/>
                </a:solidFill>
                <a:latin typeface="Arial"/>
                <a:cs typeface="Arial"/>
              </a:rPr>
              <a:t>Múltiples Actualizaciones en normativa de Riesgos Psicosociales en los últimos años</a:t>
            </a:r>
          </a:p>
        </p:txBody>
      </p:sp>
      <p:pic>
        <p:nvPicPr>
          <p:cNvPr id="12" name="Imagen 11">
            <a:extLst>
              <a:ext uri="{FF2B5EF4-FFF2-40B4-BE49-F238E27FC236}">
                <a16:creationId xmlns="" xmlns:a16="http://schemas.microsoft.com/office/drawing/2014/main" id="{7843719D-C956-4A4B-9A29-99A54577A5D3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8514007" y="452275"/>
            <a:ext cx="635000" cy="63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65770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" grpId="0">
        <p:bldAsOne/>
      </p:bldGraphic>
      <p:bldGraphic spid="7" grpId="0">
        <p:bldAsOne/>
      </p:bldGraphic>
      <p:bldGraphic spid="11" grpId="0">
        <p:bldAsOne/>
      </p:bldGraphic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to 10" hidden="1">
            <a:extLst>
              <a:ext uri="{FF2B5EF4-FFF2-40B4-BE49-F238E27FC236}">
                <a16:creationId xmlns="" xmlns:a16="http://schemas.microsoft.com/office/drawing/2014/main" id="{2CD00B59-9C6B-4A37-B965-ACC50C0A37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1619386"/>
              </p:ext>
            </p:extLst>
          </p:nvPr>
        </p:nvGraphicFramePr>
        <p:xfrm>
          <a:off x="1266" y="417836"/>
          <a:ext cx="1266" cy="12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81" name="Diapositiva de think-cell" r:id="rId5" imgW="622" imgH="623" progId="TCLayout.ActiveDocument.1">
                  <p:embed/>
                </p:oleObj>
              </mc:Choice>
              <mc:Fallback>
                <p:oleObj name="Diapositiva de think-cell" r:id="rId5" imgW="622" imgH="623" progId="TCLayout.ActiveDocument.1">
                  <p:embed/>
                  <p:pic>
                    <p:nvPicPr>
                      <p:cNvPr id="11" name="Objeto 10" hidden="1">
                        <a:extLst>
                          <a:ext uri="{FF2B5EF4-FFF2-40B4-BE49-F238E27FC236}">
                            <a16:creationId xmlns="" xmlns:a16="http://schemas.microsoft.com/office/drawing/2014/main" id="{2CD00B59-9C6B-4A37-B965-ACC50C0A37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66" y="417836"/>
                        <a:ext cx="1266" cy="12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9" hidden="1">
            <a:extLst>
              <a:ext uri="{FF2B5EF4-FFF2-40B4-BE49-F238E27FC236}">
                <a16:creationId xmlns="" xmlns:a16="http://schemas.microsoft.com/office/drawing/2014/main" id="{D72A1A55-26EB-4719-8ED2-2A56EF6DD6A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416570"/>
            <a:ext cx="126566" cy="12656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CL" sz="20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43E596C4-73B5-9C46-8898-E2A4FFC3AD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s-CL" dirty="0"/>
              <a:t>Protocolo de Vigilancia de Riesgos Psicosociales: Detalle de e</a:t>
            </a:r>
            <a:r>
              <a:rPr lang="es-CL" sz="1914" dirty="0"/>
              <a:t>tapas</a:t>
            </a:r>
            <a:endParaRPr lang="es-CL" b="0" dirty="0"/>
          </a:p>
        </p:txBody>
      </p:sp>
      <p:sp>
        <p:nvSpPr>
          <p:cNvPr id="8" name="3 Título">
            <a:extLst>
              <a:ext uri="{FF2B5EF4-FFF2-40B4-BE49-F238E27FC236}">
                <a16:creationId xmlns="" xmlns:a16="http://schemas.microsoft.com/office/drawing/2014/main" id="{6F3C3AD4-9D7E-4A48-BC17-F1E7A0DB954E}"/>
              </a:ext>
            </a:extLst>
          </p:cNvPr>
          <p:cNvSpPr txBox="1">
            <a:spLocks/>
          </p:cNvSpPr>
          <p:nvPr/>
        </p:nvSpPr>
        <p:spPr>
          <a:xfrm>
            <a:off x="420463" y="144219"/>
            <a:ext cx="8248615" cy="225895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CL" sz="800" dirty="0">
                <a:latin typeface="Arial" panose="020B0604020202020204" pitchFamily="34" charset="0"/>
                <a:cs typeface="Arial" panose="020B0604020202020204" pitchFamily="34" charset="0"/>
              </a:rPr>
              <a:t>Comité de aplicación del Protocolo de Riesgos psicosociales</a:t>
            </a:r>
            <a:endParaRPr lang="es-CL" sz="800" kern="800" spc="50" dirty="0">
              <a:latin typeface="Arial"/>
              <a:cs typeface="Arial"/>
            </a:endParaRPr>
          </a:p>
        </p:txBody>
      </p:sp>
      <p:sp>
        <p:nvSpPr>
          <p:cNvPr id="9" name="Estrella de 4 puntas 8"/>
          <p:cNvSpPr/>
          <p:nvPr/>
        </p:nvSpPr>
        <p:spPr>
          <a:xfrm>
            <a:off x="9294920" y="630315"/>
            <a:ext cx="301841" cy="399495"/>
          </a:xfrm>
          <a:prstGeom prst="star4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 rotWithShape="1">
          <a:blip r:embed="rId7"/>
          <a:srcRect l="11051" t="19496" r="15336" b="6951"/>
          <a:stretch/>
        </p:blipFill>
        <p:spPr>
          <a:xfrm>
            <a:off x="1026343" y="1136342"/>
            <a:ext cx="7771428" cy="4367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22376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3"/>
          <a:srcRect l="11691" t="19010" r="14330" b="11497"/>
          <a:stretch/>
        </p:blipFill>
        <p:spPr>
          <a:xfrm>
            <a:off x="177182" y="0"/>
            <a:ext cx="9543081" cy="5042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8238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 rotWithShape="1">
          <a:blip r:embed="rId2"/>
          <a:srcRect l="10594" t="19944" r="15518" b="7292"/>
          <a:stretch/>
        </p:blipFill>
        <p:spPr>
          <a:xfrm>
            <a:off x="248575" y="793076"/>
            <a:ext cx="8984202" cy="4986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52964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L"/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 rotWithShape="1">
          <a:blip r:embed="rId2"/>
          <a:srcRect l="10507" t="19847" r="16116" b="6613"/>
          <a:stretch/>
        </p:blipFill>
        <p:spPr>
          <a:xfrm>
            <a:off x="420463" y="870275"/>
            <a:ext cx="9019713" cy="5077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35001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z5R9dkVDEj493p3_9Ty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R26HuoUWpyc40fsHWtn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pYRoW0Mt.ZdVX17ZMhW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XCkobQdlW_gSJbxsl8K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30uJJDpGu0Iq0jcmrWB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ViHgVm1Sxtu27h4GsHn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mgwxomG.Uls3f_5tAIhA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genteProtocolo xmlns="facb319e-742c-4f23-b8ce-92c5f547e7c9">4</AgenteProtocolo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ACB3E1028E3FC943998FF7AAE7F663D6" ma:contentTypeVersion="1" ma:contentTypeDescription="Crear nuevo documento." ma:contentTypeScope="" ma:versionID="00dbb6f1569b75c9e28a0b2b6abbdaac">
  <xsd:schema xmlns:xsd="http://www.w3.org/2001/XMLSchema" xmlns:xs="http://www.w3.org/2001/XMLSchema" xmlns:p="http://schemas.microsoft.com/office/2006/metadata/properties" xmlns:ns2="facb319e-742c-4f23-b8ce-92c5f547e7c9" targetNamespace="http://schemas.microsoft.com/office/2006/metadata/properties" ma:root="true" ma:fieldsID="5483aa4a0e3ce77110ba1b464324e62f" ns2:_="">
    <xsd:import namespace="facb319e-742c-4f23-b8ce-92c5f547e7c9"/>
    <xsd:element name="properties">
      <xsd:complexType>
        <xsd:sequence>
          <xsd:element name="documentManagement">
            <xsd:complexType>
              <xsd:all>
                <xsd:element ref="ns2:AgenteProtocolo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acb319e-742c-4f23-b8ce-92c5f547e7c9" elementFormDefault="qualified">
    <xsd:import namespace="http://schemas.microsoft.com/office/2006/documentManagement/types"/>
    <xsd:import namespace="http://schemas.microsoft.com/office/infopath/2007/PartnerControls"/>
    <xsd:element name="AgenteProtocolo" ma:index="8" nillable="true" ma:displayName="AgenteProtocolo" ma:list="{a006c32d-5940-4f18-82e2-9dcbfb89a5d7}" ma:internalName="AgenteProtocolo" ma:showField="Title">
      <xsd:simpleType>
        <xsd:restriction base="dms:Lookup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C35AB4E-2049-4312-9420-A5364A74229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C6999A5-7DAF-49A9-B63C-A577C113AA71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facb319e-742c-4f23-b8ce-92c5f547e7c9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6759B266-952E-4938-9483-69C0A3A23DF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acb319e-742c-4f23-b8ce-92c5f547e7c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7753</TotalTime>
  <Words>745</Words>
  <Application>Microsoft Office PowerPoint</Application>
  <PresentationFormat>Personalizado</PresentationFormat>
  <Paragraphs>170</Paragraphs>
  <Slides>25</Slides>
  <Notes>3</Notes>
  <HiddenSlides>0</HiddenSlides>
  <MMClips>0</MMClips>
  <ScaleCrop>false</ScaleCrop>
  <HeadingPairs>
    <vt:vector size="8" baseType="variant">
      <vt:variant>
        <vt:lpstr>Fuentes usadas</vt:lpstr>
      </vt:variant>
      <vt:variant>
        <vt:i4>2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5</vt:i4>
      </vt:variant>
    </vt:vector>
  </HeadingPairs>
  <TitlesOfParts>
    <vt:vector size="29" baseType="lpstr">
      <vt:lpstr>Arial</vt:lpstr>
      <vt:lpstr>Calibri</vt:lpstr>
      <vt:lpstr>Tema de Office</vt:lpstr>
      <vt:lpstr>Diapositiva de think-cell</vt:lpstr>
      <vt:lpstr>Sensibilización Protocolo de Riesgos Psicosociales</vt:lpstr>
      <vt:lpstr>Presentación de PowerPoint</vt:lpstr>
      <vt:lpstr>Modelo conceptual del riesgo psicosocial</vt:lpstr>
      <vt:lpstr>¿Porqué preocuparse de los Riesgos Psicosociales?</vt:lpstr>
      <vt:lpstr>Presentación de PowerPoint</vt:lpstr>
      <vt:lpstr>Protocolo de Vigilancia de Riesgos Psicosociales: Detalle de etapas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Formulario habilitación CEAL-SM SUSESO</vt:lpstr>
      <vt:lpstr>Resumen, Manual del Método CEAL-SM SUSESO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innovacom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mité de Aplicación Protocolo de Riesgos Psicosociales</dc:title>
  <dc:creator>n</dc:creator>
  <cp:lastModifiedBy>Aguilar Birke, Daniela Verónica</cp:lastModifiedBy>
  <cp:revision>536</cp:revision>
  <cp:lastPrinted>2018-06-27T18:57:44Z</cp:lastPrinted>
  <dcterms:created xsi:type="dcterms:W3CDTF">2018-03-13T12:51:48Z</dcterms:created>
  <dcterms:modified xsi:type="dcterms:W3CDTF">2023-04-25T20:30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CB3E1028E3FC943998FF7AAE7F663D6</vt:lpwstr>
  </property>
</Properties>
</file>